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147483490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33F7E0-E0B8-4A88-855E-C3BA2524D662}" v="33" dt="2024-09-27T13:13:49.103"/>
    <p1510:client id="{6CE9772C-FE65-4B9E-90BC-29706BC6B77E}" vWet="3" dt="2024-09-27T13:11:28.40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keserouany, Elie" userId="2cbcca61-acd7-4514-a720-fdba304cba0a" providerId="ADAL" clId="{0033F7E0-E0B8-4A88-855E-C3BA2524D662}"/>
    <pc:docChg chg="custSel modSld replTag">
      <pc:chgData name="Alkeserouany, Elie" userId="2cbcca61-acd7-4514-a720-fdba304cba0a" providerId="ADAL" clId="{0033F7E0-E0B8-4A88-855E-C3BA2524D662}" dt="2024-09-27T13:13:49.103" v="28"/>
      <pc:docMkLst>
        <pc:docMk/>
      </pc:docMkLst>
      <pc:sldChg chg="addSp delSp modSp mod">
        <pc:chgData name="Alkeserouany, Elie" userId="2cbcca61-acd7-4514-a720-fdba304cba0a" providerId="ADAL" clId="{0033F7E0-E0B8-4A88-855E-C3BA2524D662}" dt="2024-09-27T13:13:49.103" v="28"/>
        <pc:sldMkLst>
          <pc:docMk/>
          <pc:sldMk cId="645681342" sldId="2147483490"/>
        </pc:sldMkLst>
        <pc:spChg chg="mod">
          <ac:chgData name="Alkeserouany, Elie" userId="2cbcca61-acd7-4514-a720-fdba304cba0a" providerId="ADAL" clId="{0033F7E0-E0B8-4A88-855E-C3BA2524D662}" dt="2024-09-27T13:13:49.048" v="1" actId="948"/>
          <ac:spMkLst>
            <pc:docMk/>
            <pc:sldMk cId="645681342" sldId="2147483490"/>
            <ac:spMk id="2" creationId="{EC007F09-A190-5D16-F3FF-EA03205797A3}"/>
          </ac:spMkLst>
        </pc:spChg>
        <pc:spChg chg="add del mod modVis">
          <ac:chgData name="Alkeserouany, Elie" userId="2cbcca61-acd7-4514-a720-fdba304cba0a" providerId="ADAL" clId="{0033F7E0-E0B8-4A88-855E-C3BA2524D662}" dt="2024-09-27T13:13:49.100" v="26"/>
          <ac:spMkLst>
            <pc:docMk/>
            <pc:sldMk cId="645681342" sldId="2147483490"/>
            <ac:spMk id="3" creationId="{7EE3C499-A7EC-045F-8D7C-189B9A91D310}"/>
          </ac:spMkLst>
        </pc:spChg>
        <pc:graphicFrameChg chg="mod">
          <ac:chgData name="Alkeserouany, Elie" userId="2cbcca61-acd7-4514-a720-fdba304cba0a" providerId="ADAL" clId="{0033F7E0-E0B8-4A88-855E-C3BA2524D662}" dt="2024-09-27T13:13:49.103" v="28"/>
          <ac:graphicFrameMkLst>
            <pc:docMk/>
            <pc:sldMk cId="645681342" sldId="2147483490"/>
            <ac:graphicFrameMk id="52" creationId="{4907253C-FD5B-A0C7-D35E-A9436A90CF90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6E743A-A386-4E1D-AE7C-CD15B50F7002}" type="datetimeFigureOut">
              <a:rPr lang="en-GB" smtClean="0"/>
              <a:t>27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AE9AE5-68B7-4E3D-B880-E4EDD7F2784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504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F4260EE0-853B-4169-83A0-3480C1E3CA7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891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E95A4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34965" y="3209463"/>
            <a:ext cx="8162859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 userDrawn="1">
            <p:ph type="ctrTitle" hasCustomPrompt="1"/>
          </p:nvPr>
        </p:nvSpPr>
        <p:spPr>
          <a:xfrm>
            <a:off x="334965" y="981075"/>
            <a:ext cx="9307790" cy="2052600"/>
          </a:xfr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>
              <a:defRPr lang="en-US" sz="4800" b="1" i="0" u="none" strike="noStrike" cap="none" dirty="0">
                <a:solidFill>
                  <a:srgbClr val="FFFFFF"/>
                </a:solidFill>
                <a:latin typeface="+mj-lt"/>
                <a:ea typeface="Poppins"/>
                <a:cs typeface="Poppins"/>
                <a:sym typeface="Poppins"/>
              </a:defRPr>
            </a:lvl1pPr>
          </a:lstStyle>
          <a:p>
            <a:pPr marR="0"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oppins"/>
            </a:pPr>
            <a:r>
              <a:rPr lang="en-US"/>
              <a:t>Click to add title</a:t>
            </a:r>
          </a:p>
        </p:txBody>
      </p:sp>
      <p:sp>
        <p:nvSpPr>
          <p:cNvPr id="6" name="btfpLayoutConfig" hidden="1"/>
          <p:cNvSpPr txBox="1"/>
          <p:nvPr userDrawn="1"/>
        </p:nvSpPr>
        <p:spPr>
          <a:xfrm>
            <a:off x="12700" y="12700"/>
            <a:ext cx="61131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468226384557565 columns_1_131468226384557565 </a:t>
            </a:r>
          </a:p>
        </p:txBody>
      </p:sp>
      <p:pic>
        <p:nvPicPr>
          <p:cNvPr id="16" name="Google Shape;10;p2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621280" y="90406"/>
            <a:ext cx="9570720" cy="676759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73054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2108673231156521 columns_1_132108673231156521 </a:t>
            </a:r>
            <a:endParaRPr lang="en-GB" sz="100" err="1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8270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10;p2"/>
          <p:cNvPicPr preferRelativeResize="0"/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918070" y="1714500"/>
            <a:ext cx="727393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itle"/>
          <p:cNvSpPr>
            <a:spLocks noGrp="1"/>
          </p:cNvSpPr>
          <p:nvPr>
            <p:ph type="ctrTitle" hasCustomPrompt="1"/>
          </p:nvPr>
        </p:nvSpPr>
        <p:spPr>
          <a:xfrm>
            <a:off x="334963" y="981075"/>
            <a:ext cx="9284526" cy="2052600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>
              <a:defRPr lang="en-US" sz="4400" b="0" i="0" u="none" strike="noStrike" cap="none" dirty="0">
                <a:solidFill>
                  <a:schemeClr val="tx2"/>
                </a:solidFill>
                <a:latin typeface="+mj-lt"/>
                <a:ea typeface="Poppins"/>
                <a:cs typeface="Poppins"/>
                <a:sym typeface="Poppins"/>
              </a:defRPr>
            </a:lvl1pPr>
          </a:lstStyle>
          <a:p>
            <a:pPr marR="0" lv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Poppins"/>
            </a:pPr>
            <a:r>
              <a:rPr lang="pl-PL" err="1"/>
              <a:t>Thank</a:t>
            </a:r>
            <a:r>
              <a:rPr lang="pl-PL"/>
              <a:t> </a:t>
            </a:r>
            <a:r>
              <a:rPr lang="pl-PL" err="1"/>
              <a:t>you</a:t>
            </a:r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 flipH="1">
            <a:off x="0" y="3491605"/>
            <a:ext cx="9619489" cy="0"/>
          </a:xfrm>
          <a:prstGeom prst="line">
            <a:avLst/>
          </a:prstGeom>
          <a:ln w="381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btfpLayoutConfig" hidden="1"/>
          <p:cNvSpPr txBox="1"/>
          <p:nvPr userDrawn="1"/>
        </p:nvSpPr>
        <p:spPr bwMode="gray">
          <a:xfrm>
            <a:off x="12700" y="12700"/>
            <a:ext cx="431776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pPr marL="0" indent="0">
              <a:buNone/>
            </a:pPr>
            <a:r>
              <a:rPr lang="en-GB" sz="100">
                <a:solidFill>
                  <a:srgbClr val="FFFFFF">
                    <a:alpha val="0"/>
                  </a:srgbClr>
                </a:solidFill>
              </a:rPr>
              <a:t>overall_0_132108550941954488 columns_1_132108550941954488 </a:t>
            </a:r>
            <a:endParaRPr lang="en-GB" sz="100" err="1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718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551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7EC9E5-A512-CE7F-AE06-D68A35115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90293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7EC9E5-A512-CE7F-AE06-D68A35115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5434432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539353935393C2F72756E6E696E674167656E64614261636B436F6C6F724C6566743E0D0A2020202020203C72756E6E696E674167656E64614261636B436F6C6F7252696768743E23454545454545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030303030303C2F72756E6E696E674167656E646154657874436F6C6F7252696768743E0D0A2020202020203C636F6C756D6E4865616465724C696E65436F6C6F723E234539354134313C2F636F6C756D6E4865616465724C696E65436F6C6F723E0D0A2020202020203C636F6C756D6E48656164657254657874436F6C6F723E234539354134313C2F636F6C756D6E48656164657254657874436F6C6F723E0D0A2020202020203C726F774865616465724C696E65436F6C6F723E233539353935393C2F726F774865616465724C696E65436F6C6F723E0D0A2020202020203C726F7748656164657254657874436F6C6F723E233539353935393C2F726F7748656164657254657874436F6C6F723E0D0A2020202020203C636F6E636C7573696F6E4172726F774C696E65436F6C6F723E234539354134313C2F636F6E636C7573696F6E4172726F774C696E65436F6C6F723E0D0A2020202020203C636F6E636C7573696F6E4172726F7754657874436F6C6F723E234539354134313C2F636F6E636C7573696F6E4172726F7754657874436F6C6F723E0D0A2020202020203C70657263656E74616765436972636C6546756C6C436972636C65436F6C6F723E233539353935393C2F70657263656E74616765436972636C6546756C6C436972636C65436F6C6F723E0D0A2020202020203C70657263656E74616765436972636C6554657874486967686C69676874436F6C6F723E234641413631413C2F70657263656E74616765436972636C6554657874486967686C69676874436F6C6F723E0D0A2020202020203C737461747573537469636B6572436F6C6F723E233539353935393C2F737461747573537469636B6572436F6C6F723E0D0A2020202020203C63616C6C6F75744261636B436F6C6F723E234646464646463C2F63616C6C6F75744261636B436F6C6F723E0D0A2020202020203C63616C6C6F7574546578744C696E65436F6C6F723E234539354134313C2F63616C6C6F7574546578744C696E65436F6C6F723E0D0A2020202020203C6E756D626572427562626C654261636B436F6C6F723E234646464646463C2F6E756D626572427562626C654261636B436F6C6F723E0D0A2020202020203C6E756D626572427562626C65546578744C696E65436F6C6F723E234539354134313C2F6E756D626572427562626C65546578744C696E65436F6C6F723E0D0A2020202020203C76616C7565436861696E546578744C696E65436F6C6F723E233539353935393C2F76616C7565436861696E546578744C696E65436F6C6F723E0D0A2020202020203C6167656E6461486967686C69676874436F6C6F723E23453935413431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2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4539354134313C2F636F6C6F723E0D0A2020202020203C636F6C6F7220636F6E7472617374696E6754657874436F6C6F723D2223464646464646223E233539353935393C2F636F6C6F723E0D0A2020202020203C636F6C6F7220636F6E7472617374696E6754657874436F6C6F723D2223464646464646223E234545454545453C2F636F6C6F723E0D0A2020202020203C636F6C6F7220636F6E7472617374696E6754657874436F6C6F723D2223464646464646223E234143443446313C2F636F6C6F723E0D0A2020202020203C636F6C6F7220636F6E7472617374696E6754657874436F6C6F723D2223464646464646223E234639414539313C2F636F6C6F723E0D0A2020202020203C636F6C6F7220636F6E7472617374696E6754657874436F6C6F723D2223464646464646223E234641413631413C2F636F6C6F723E0D0A2020202020203C636F6C6F7220636F6E7472617374696E6754657874436F6C6F723D2223464646464646223E233541313933463C2F636F6C6F723E0D0A2020202020203C636F6C6F7220636F6E7472617374696E6754657874436F6C6F723D2223464646464646223E233836323130463C2F636F6C6F723E0D0A2020202020203C636F6C6F7220636F6E7472617374696E6754657874436F6C6F723D2223464646464646223E234539354134313C2F636F6C6F723E0D0A2020202020203C636F6C6F7220636F6E7472617374696E6754657874436F6C6F723D2223464646464646223E234632394338443C2F636F6C6F723E0D0A2020202020203C636F6C6F7220636F6E7472617374696E6754657874436F6C6F723D2223464646464646223E234636424442333C2F636F6C6F723E0D0A2020202020203C636F6C6F7220636F6E7472617374696E6754657874436F6C6F723D2223464646464646223E234545454545453C2F636F6C6F723E0D0A2020202020203C636F6C6F7220636F6E7472617374696E6754657874436F6C6F723D2223464646464646223E234436443644363C2F636F6C6F723E0D0A2020202020203C636F6C6F7220636F6E7472617374696E6754657874436F6C6F723D2223464646464646223E234233423342333C2F636F6C6F723E0D0A2020202020203C636F6C6F7220636F6E7472617374696E6754657874436F6C6F723D2223464646464646223E233539353935393C2F636F6C6F723E0D0A2020202020203C636F6C6F7220636F6E7472617374696E6754657874436F6C6F723D2223464646464646223E233243324332433C2F636F6C6F723E0D0A2020202020203C636F6C6F7220636F6E7472617374696E6754657874436F6C6F723D2223464646464646223E234143443446313C2F636F6C6F723E0D0A2020202020203C636F6C6F7220636F6E7472617374696E6754657874436F6C6F723D2223464646464646223E233534413645323C2F636F6C6F723E0D0A2020202020203C636F6C6F7220636F6E7472617374696E6754657874436F6C6F723D2223464646464646223E233145373342313C2F636F6C6F723E0D0A2020202020203C636F6C6F7220636F6E7472617374696E6754657874436F6C6F723D2223464646464646223E233134344139413C2F636F6C6F723E0D0A2020202020203C636F6C6F7220636F6E7472617374696E6754657874436F6C6F723D2223464646464646223E234644444644333C2F636F6C6F723E0D0A2020202020203C636F6C6F7220636F6E7472617374696E6754657874436F6C6F723D2223464646464646223E234639414539313C2F636F6C6F723E0D0A2020202020203C636F6C6F7220636F6E7472617374696E6754657874436F6C6F723D2223464646464646223E234634363933343C2F636F6C6F723E0D0A2020202020203C636F6C6F7220636F6E7472617374696E6754657874436F6C6F723D2223464646464646223E234242334230413C2F636F6C6F723E0D0A2020202020203C636F6C6F7220636F6E7472617374696E6754657874436F6C6F723D2223464646464646223E234643434137363C2F636F6C6F723E0D0A2020202020203C636F6C6F7220636F6E7472617374696E6754657874436F6C6F723D2223464646464646223E234641413631413C2F636F6C6F723E0D0A2020202020203C636F6C6F7220636F6E7472617374696E6754657874436F6C6F723D2223464646464646223E234342383030343C2F636F6C6F723E0D0A2020202020203C636F6C6F7220636F6E7472617374696E6754657874436F6C6F723D2223464646464646223E233837353630333C2F636F6C6F723E0D0A2020202020203C636F6C6F7220636F6E7472617374696E6754657874436F6C6F723D2223464646464646223E233541313933463C2F636F6C6F723E0D0A2020202020203C636F6C6F7220636F6E7472617374696E6754657874436F6C6F723D2223464646464646223E234144333137423C2F636F6C6F723E0D0A2020202020203C636F6C6F7220636F6E7472617374696E6754657874436F6C6F723D2223464646464646223E234444383342383C2F636F6C6F723E0D0A2020202020203C636F6C6F7220636F6E7472617374696E6754657874436F6C6F723D2223464646464646223E23454543314442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20203C636F6C6F7220636F6E7472617374696E6754657874436F6C6F723D2223464646464646223E234646464646463C2F636F6C6F723E0D0A202020203C2F636F6C6F72733E0D0A20203C2F74656D706C6174653E0D0A20203C4775696465733E0D0A202020203C4C656674477569646520786D6C6E733D22323622202F3E0D0A202020203C5269676874477569646520786D6C6E733D2239333422202F3E0D0A202020203C5570706572537469636B6572477569646520786D6C6E733D22373722202F3E0D0A202020203C4C6F776572537469636B6572477569646520786D6C6E733D2231303822202F3E0D0A202020203C426F74746F6D477569646520786D6C6E733D22353033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441183" y="6486524"/>
            <a:ext cx="415855" cy="30936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defTabSz="711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BB69BBE8-4DB2-4642-B003-B220ACD5A2FD}" type="slidenum">
              <a:rPr lang="en-US" sz="1000" b="0" i="0" u="none" strike="noStrike" cap="none" smtClean="0">
                <a:solidFill>
                  <a:schemeClr val="bg1">
                    <a:lumMod val="50000"/>
                  </a:schemeClr>
                </a:solidFill>
                <a:latin typeface="Poppins"/>
                <a:ea typeface="Poppins"/>
                <a:cs typeface="Poppins"/>
                <a:sym typeface="Arial"/>
              </a:rPr>
              <a:pPr marL="0" marR="0" lvl="0" indent="0" algn="r" defTabSz="7112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fr-FR" sz="1000" b="0" i="0" u="none" strike="noStrike" cap="none">
              <a:solidFill>
                <a:schemeClr val="bg1">
                  <a:lumMod val="50000"/>
                </a:schemeClr>
              </a:solidFill>
              <a:latin typeface="Poppins"/>
              <a:ea typeface="Poppins"/>
              <a:cs typeface="Poppins"/>
              <a:sym typeface="Arial"/>
            </a:endParaRPr>
          </a:p>
        </p:txBody>
      </p:sp>
      <p:sp>
        <p:nvSpPr>
          <p:cNvPr id="8" name="CreatedFooter"/>
          <p:cNvSpPr/>
          <p:nvPr userDrawn="1"/>
        </p:nvSpPr>
        <p:spPr>
          <a:xfrm>
            <a:off x="7263245" y="6661394"/>
            <a:ext cx="2140528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>
              <a:buNone/>
            </a:pPr>
            <a:r>
              <a:rPr lang="ar-LB" sz="600">
                <a:solidFill>
                  <a:srgbClr val="FFFFFF"/>
                </a:solidFill>
              </a:rPr>
              <a:t>للحصول على شهادة عدم الممانعة (</a:t>
            </a:r>
            <a:r>
              <a:rPr lang="en-US" sz="600">
                <a:solidFill>
                  <a:srgbClr val="FFFFFF"/>
                </a:solidFill>
              </a:rPr>
              <a:t>NOC)،</a:t>
            </a:r>
            <a:endParaRPr lang="en-GB" sz="600">
              <a:solidFill>
                <a:srgbClr val="FFFFFF"/>
              </a:solidFill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376364"/>
            <a:ext cx="11522603" cy="5005386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2" y="134112"/>
            <a:ext cx="11522076" cy="83865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anchor="b" anchorCtr="0">
            <a:no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"/>
            </a:pPr>
            <a:r>
              <a:rPr lang="en-US"/>
              <a:t>Click to edit Master title style</a:t>
            </a:r>
          </a:p>
        </p:txBody>
      </p:sp>
      <p:sp>
        <p:nvSpPr>
          <p:cNvPr id="4" name="btfpLayoutConfig" hidden="1"/>
          <p:cNvSpPr txBox="1"/>
          <p:nvPr userDrawn="1"/>
        </p:nvSpPr>
        <p:spPr>
          <a:xfrm>
            <a:off x="12700" y="12700"/>
            <a:ext cx="611312" cy="88092"/>
          </a:xfrm>
          <a:prstGeom prst="rect">
            <a:avLst/>
          </a:prstGeom>
          <a:noFill/>
        </p:spPr>
        <p:txBody>
          <a:bodyPr vert="horz" wrap="none" lIns="36000" tIns="36000" rIns="36000" bIns="36000" rtlCol="0">
            <a:spAutoFit/>
          </a:bodyPr>
          <a:lstStyle/>
          <a:p>
            <a:r>
              <a:rPr lang="en-US" sz="100">
                <a:solidFill>
                  <a:srgbClr val="FFFFFF">
                    <a:alpha val="0"/>
                  </a:srgbClr>
                </a:solidFill>
              </a:rPr>
              <a:t>overall_0_131468204519021135 columns_1_131468204519021135 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 flipH="1">
            <a:off x="0" y="6641205"/>
            <a:ext cx="11163300" cy="0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7796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lang="en-US" sz="2400" b="0" i="0" u="none" strike="noStrike" kern="1200" cap="none" dirty="0">
          <a:solidFill>
            <a:schemeClr val="tx2"/>
          </a:solidFill>
          <a:latin typeface="+mj-lt"/>
          <a:ea typeface="+mj-ea"/>
          <a:cs typeface="Poppins" panose="020B0604020202020204" charset="0"/>
          <a:sym typeface="Arial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8">
          <p15:clr>
            <a:srgbClr val="D1D1D1"/>
          </p15:clr>
        </p15:guide>
        <p15:guide id="2" pos="211">
          <p15:clr>
            <a:srgbClr val="D1D1D1"/>
          </p15:clr>
        </p15:guide>
        <p15:guide id="4" orient="horz" pos="867">
          <p15:clr>
            <a:srgbClr val="D1D1D1"/>
          </p15:clr>
        </p15:guide>
        <p15:guide id="7" orient="horz" pos="4020">
          <p15:clr>
            <a:srgbClr val="D1D1D1"/>
          </p15:clr>
        </p15:guide>
        <p15:guide id="8" pos="7469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oleObject" Target="../embeddings/oleObject2.bin"/><Relationship Id="rId63" Type="http://schemas.openxmlformats.org/officeDocument/2006/relationships/image" Target="../media/image10.png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slideLayout" Target="../slideLayouts/slideLayout2.xml"/><Relationship Id="rId58" Type="http://schemas.openxmlformats.org/officeDocument/2006/relationships/image" Target="../media/image5.png"/><Relationship Id="rId5" Type="http://schemas.openxmlformats.org/officeDocument/2006/relationships/tags" Target="../tags/tag7.xml"/><Relationship Id="rId61" Type="http://schemas.openxmlformats.org/officeDocument/2006/relationships/image" Target="../media/image8.png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image" Target="../media/image3.emf"/><Relationship Id="rId64" Type="http://schemas.openxmlformats.org/officeDocument/2006/relationships/image" Target="../media/image11.svg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image" Target="../media/image6.png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notesSlide" Target="../notesSlides/notesSlide1.xml"/><Relationship Id="rId62" Type="http://schemas.openxmlformats.org/officeDocument/2006/relationships/image" Target="../media/image9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image" Target="../media/image4.png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image" Target="../media/image7.png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AA8CDA-48FA-0863-C80A-0700424F26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think-cell data - do not delete" hidden="1">
            <a:extLst>
              <a:ext uri="{FF2B5EF4-FFF2-40B4-BE49-F238E27FC236}">
                <a16:creationId xmlns:a16="http://schemas.microsoft.com/office/drawing/2014/main" id="{4907253C-FD5B-A0C7-D35E-A9436A90CF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8529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5" imgW="347" imgH="348" progId="TCLayout.ActiveDocument.1">
                  <p:embed/>
                </p:oleObj>
              </mc:Choice>
              <mc:Fallback>
                <p:oleObj name="think-cell Slide" r:id="rId55" imgW="347" imgH="348" progId="TCLayout.ActiveDocument.1">
                  <p:embed/>
                  <p:pic>
                    <p:nvPicPr>
                      <p:cNvPr id="5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07253C-FD5B-A0C7-D35E-A9436A90C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C007F09-A190-5D16-F3FF-EA03205797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r" rtl="1"/>
            <a:r>
              <a:rPr lang="ar-LB">
                <a:latin typeface="Sakkal Majalla" panose="02000000000000000000" pitchFamily="2" charset="-78"/>
                <a:cs typeface="Sakkal Majalla" panose="02000000000000000000" pitchFamily="2" charset="-78"/>
              </a:rPr>
              <a:t>للحصول على شهادة عدم الممانعة </a:t>
            </a:r>
            <a:r>
              <a:rPr lang="en-US">
                <a:latin typeface="Sakkal Majalla" panose="02000000000000000000" pitchFamily="2" charset="-78"/>
                <a:cs typeface="Sakkal Majalla" panose="02000000000000000000" pitchFamily="2" charset="-78"/>
              </a:rPr>
              <a:t>(</a:t>
            </a:r>
            <a:r>
              <a:rPr lang="en-GB">
                <a:latin typeface="Sakkal Majalla" panose="02000000000000000000" pitchFamily="2" charset="-78"/>
                <a:cs typeface="Sakkal Majalla" panose="02000000000000000000" pitchFamily="2" charset="-78"/>
              </a:rPr>
              <a:t>NOC)، </a:t>
            </a:r>
            <a:r>
              <a:rPr lang="ar-LB">
                <a:latin typeface="Sakkal Majalla" panose="02000000000000000000" pitchFamily="2" charset="-78"/>
                <a:cs typeface="Sakkal Majalla" panose="02000000000000000000" pitchFamily="2" charset="-78"/>
              </a:rPr>
              <a:t>يجب على مقدمي التدريب في مجال تنمية الطفولة المبكرة</a:t>
            </a:r>
            <a:r>
              <a:rPr lang="en-GB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LB">
                <a:latin typeface="Sakkal Majalla" panose="02000000000000000000" pitchFamily="2" charset="-78"/>
                <a:cs typeface="Sakkal Majalla" panose="02000000000000000000" pitchFamily="2" charset="-78"/>
              </a:rPr>
              <a:t>إثبات استيفائهم لخمسة معايير أكاديمية يتم تقييمها من قبل هيئة أبوظبي للطفولة المبكرة</a:t>
            </a:r>
            <a:endParaRPr lang="ar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pSp>
        <p:nvGrpSpPr>
          <p:cNvPr id="32" name="btfpColumnIndicatorGroup2">
            <a:extLst>
              <a:ext uri="{FF2B5EF4-FFF2-40B4-BE49-F238E27FC236}">
                <a16:creationId xmlns:a16="http://schemas.microsoft.com/office/drawing/2014/main" id="{3DFA80B6-2B38-09C8-41DF-A4D0B429B156}"/>
              </a:ext>
            </a:extLst>
          </p:cNvPr>
          <p:cNvGrpSpPr/>
          <p:nvPr/>
        </p:nvGrpSpPr>
        <p:grpSpPr>
          <a:xfrm flipH="1"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575104">
              <a:extLst>
                <a:ext uri="{FF2B5EF4-FFF2-40B4-BE49-F238E27FC236}">
                  <a16:creationId xmlns:a16="http://schemas.microsoft.com/office/drawing/2014/main" id="{4ED342CD-420E-A723-777B-84B4196A815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24" name="btfpColumnGapBlocker660417">
              <a:extLst>
                <a:ext uri="{FF2B5EF4-FFF2-40B4-BE49-F238E27FC236}">
                  <a16:creationId xmlns:a16="http://schemas.microsoft.com/office/drawing/2014/main" id="{F3921044-FA46-53A2-FE08-AB911FAED4CB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cxnSp>
          <p:nvCxnSpPr>
            <p:cNvPr id="22" name="btfpColumnIndicator784753">
              <a:extLst>
                <a:ext uri="{FF2B5EF4-FFF2-40B4-BE49-F238E27FC236}">
                  <a16:creationId xmlns:a16="http://schemas.microsoft.com/office/drawing/2014/main" id="{1B0414A3-CE36-674B-3466-2820189FE143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btfpColumnIndicator796452">
              <a:extLst>
                <a:ext uri="{FF2B5EF4-FFF2-40B4-BE49-F238E27FC236}">
                  <a16:creationId xmlns:a16="http://schemas.microsoft.com/office/drawing/2014/main" id="{ADD9CBED-AA83-C6A2-742B-3533430F8A14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6A060E37-429D-0059-8A8F-4A3CE90F38EE}"/>
              </a:ext>
            </a:extLst>
          </p:cNvPr>
          <p:cNvGrpSpPr/>
          <p:nvPr/>
        </p:nvGrpSpPr>
        <p:grpSpPr>
          <a:xfrm flipH="1"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5" name="btfpColumnGapBlocker602389">
              <a:extLst>
                <a:ext uri="{FF2B5EF4-FFF2-40B4-BE49-F238E27FC236}">
                  <a16:creationId xmlns:a16="http://schemas.microsoft.com/office/drawing/2014/main" id="{7DA3BE58-5ED2-BA46-EB1E-C36B274BDF19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23" name="btfpColumnGapBlocker739882">
              <a:extLst>
                <a:ext uri="{FF2B5EF4-FFF2-40B4-BE49-F238E27FC236}">
                  <a16:creationId xmlns:a16="http://schemas.microsoft.com/office/drawing/2014/main" id="{D420D9C8-D66C-D475-5E75-220F9A660D43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cxnSp>
          <p:nvCxnSpPr>
            <p:cNvPr id="21" name="btfpColumnIndicator615270">
              <a:extLst>
                <a:ext uri="{FF2B5EF4-FFF2-40B4-BE49-F238E27FC236}">
                  <a16:creationId xmlns:a16="http://schemas.microsoft.com/office/drawing/2014/main" id="{9F94DBCD-15CB-734B-7F4D-12C5BB75BAF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btfpColumnIndicator116416">
              <a:extLst>
                <a:ext uri="{FF2B5EF4-FFF2-40B4-BE49-F238E27FC236}">
                  <a16:creationId xmlns:a16="http://schemas.microsoft.com/office/drawing/2014/main" id="{96F7AD94-0C09-2AC0-742F-932409396B2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3B04FAB-8A9A-548D-0955-FCF11D359F31}"/>
              </a:ext>
            </a:extLst>
          </p:cNvPr>
          <p:cNvSpPr/>
          <p:nvPr/>
        </p:nvSpPr>
        <p:spPr bwMode="gray">
          <a:xfrm flipH="1">
            <a:off x="596516" y="6381750"/>
            <a:ext cx="11595484" cy="4762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B2ED928B-9C5C-9938-39B1-3BB07FCD5E88}"/>
              </a:ext>
            </a:extLst>
          </p:cNvPr>
          <p:cNvSpPr/>
          <p:nvPr/>
        </p:nvSpPr>
        <p:spPr bwMode="gray">
          <a:xfrm flipH="1">
            <a:off x="334963" y="1445249"/>
            <a:ext cx="593194" cy="628170"/>
          </a:xfrm>
          <a:custGeom>
            <a:avLst/>
            <a:gdLst>
              <a:gd name="connsiteX0" fmla="*/ 1461206 w 1484277"/>
              <a:gd name="connsiteY0" fmla="*/ 471 h 1571793"/>
              <a:gd name="connsiteX1" fmla="*/ 1484277 w 1484277"/>
              <a:gd name="connsiteY1" fmla="*/ 4506 h 1571793"/>
              <a:gd name="connsiteX2" fmla="*/ 1484277 w 1484277"/>
              <a:gd name="connsiteY2" fmla="*/ 1571793 h 1571793"/>
              <a:gd name="connsiteX3" fmla="*/ 335006 w 1484277"/>
              <a:gd name="connsiteY3" fmla="*/ 1571793 h 1571793"/>
              <a:gd name="connsiteX4" fmla="*/ 320102 w 1484277"/>
              <a:gd name="connsiteY4" fmla="*/ 1549096 h 1571793"/>
              <a:gd name="connsiteX5" fmla="*/ 62840 w 1484277"/>
              <a:gd name="connsiteY5" fmla="*/ 1363982 h 1571793"/>
              <a:gd name="connsiteX6" fmla="*/ 117811 w 1484277"/>
              <a:gd name="connsiteY6" fmla="*/ 1114108 h 1571793"/>
              <a:gd name="connsiteX7" fmla="*/ 1731 w 1484277"/>
              <a:gd name="connsiteY7" fmla="*/ 857745 h 1571793"/>
              <a:gd name="connsiteX8" fmla="*/ 213723 w 1484277"/>
              <a:gd name="connsiteY8" fmla="*/ 629881 h 1571793"/>
              <a:gd name="connsiteX9" fmla="*/ 215751 w 1484277"/>
              <a:gd name="connsiteY9" fmla="*/ 623874 h 1571793"/>
              <a:gd name="connsiteX10" fmla="*/ 310182 w 1484277"/>
              <a:gd name="connsiteY10" fmla="*/ 296657 h 1571793"/>
              <a:gd name="connsiteX11" fmla="*/ 769571 w 1484277"/>
              <a:gd name="connsiteY11" fmla="*/ 221901 h 1571793"/>
              <a:gd name="connsiteX12" fmla="*/ 769659 w 1484277"/>
              <a:gd name="connsiteY12" fmla="*/ 221763 h 1571793"/>
              <a:gd name="connsiteX13" fmla="*/ 810084 w 1484277"/>
              <a:gd name="connsiteY13" fmla="*/ 158392 h 1571793"/>
              <a:gd name="connsiteX14" fmla="*/ 1232741 w 1484277"/>
              <a:gd name="connsiteY14" fmla="*/ 144295 h 1571793"/>
              <a:gd name="connsiteX15" fmla="*/ 1234807 w 1484277"/>
              <a:gd name="connsiteY15" fmla="*/ 140893 h 1571793"/>
              <a:gd name="connsiteX16" fmla="*/ 1264810 w 1484277"/>
              <a:gd name="connsiteY16" fmla="*/ 91491 h 1571793"/>
              <a:gd name="connsiteX17" fmla="*/ 1413219 w 1484277"/>
              <a:gd name="connsiteY17" fmla="*/ 2587 h 1571793"/>
              <a:gd name="connsiteX18" fmla="*/ 1461206 w 1484277"/>
              <a:gd name="connsiteY18" fmla="*/ 471 h 1571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484277" h="1571793">
                <a:moveTo>
                  <a:pt x="1461206" y="471"/>
                </a:moveTo>
                <a:lnTo>
                  <a:pt x="1484277" y="4506"/>
                </a:lnTo>
                <a:lnTo>
                  <a:pt x="1484277" y="1571793"/>
                </a:lnTo>
                <a:lnTo>
                  <a:pt x="335006" y="1571793"/>
                </a:lnTo>
                <a:lnTo>
                  <a:pt x="320102" y="1549096"/>
                </a:lnTo>
                <a:cubicBezTo>
                  <a:pt x="204241" y="1563872"/>
                  <a:pt x="95450" y="1485608"/>
                  <a:pt x="62840" y="1363982"/>
                </a:cubicBezTo>
                <a:cubicBezTo>
                  <a:pt x="39219" y="1275984"/>
                  <a:pt x="60100" y="1181016"/>
                  <a:pt x="117811" y="1114108"/>
                </a:cubicBezTo>
                <a:cubicBezTo>
                  <a:pt x="35930" y="1061625"/>
                  <a:pt x="-9669" y="960912"/>
                  <a:pt x="1731" y="857745"/>
                </a:cubicBezTo>
                <a:cubicBezTo>
                  <a:pt x="15104" y="736951"/>
                  <a:pt x="103123" y="642333"/>
                  <a:pt x="213723" y="629881"/>
                </a:cubicBezTo>
                <a:cubicBezTo>
                  <a:pt x="214380" y="627864"/>
                  <a:pt x="215093" y="625891"/>
                  <a:pt x="215751" y="623874"/>
                </a:cubicBezTo>
                <a:cubicBezTo>
                  <a:pt x="200898" y="504922"/>
                  <a:pt x="235536" y="384961"/>
                  <a:pt x="310182" y="296657"/>
                </a:cubicBezTo>
                <a:cubicBezTo>
                  <a:pt x="428126" y="157185"/>
                  <a:pt x="619346" y="126099"/>
                  <a:pt x="769571" y="221901"/>
                </a:cubicBezTo>
                <a:lnTo>
                  <a:pt x="769659" y="221763"/>
                </a:lnTo>
                <a:lnTo>
                  <a:pt x="810084" y="158392"/>
                </a:lnTo>
                <a:cubicBezTo>
                  <a:pt x="917852" y="26895"/>
                  <a:pt x="1110837" y="13472"/>
                  <a:pt x="1232741" y="144295"/>
                </a:cubicBezTo>
                <a:lnTo>
                  <a:pt x="1234807" y="140893"/>
                </a:lnTo>
                <a:lnTo>
                  <a:pt x="1264810" y="91491"/>
                </a:lnTo>
                <a:cubicBezTo>
                  <a:pt x="1302256" y="43667"/>
                  <a:pt x="1354809" y="11597"/>
                  <a:pt x="1413219" y="2587"/>
                </a:cubicBezTo>
                <a:cubicBezTo>
                  <a:pt x="1429291" y="104"/>
                  <a:pt x="1445359" y="-569"/>
                  <a:pt x="1461206" y="471"/>
                </a:cubicBezTo>
                <a:close/>
              </a:path>
            </a:pathLst>
          </a:custGeom>
          <a:solidFill>
            <a:schemeClr val="bg1"/>
          </a:solidFill>
          <a:ln w="53975">
            <a:gradFill flip="none" rotWithShape="1">
              <a:gsLst>
                <a:gs pos="44000">
                  <a:schemeClr val="accent2">
                    <a:lumMod val="50000"/>
                    <a:alpha val="0"/>
                  </a:schemeClr>
                </a:gs>
                <a:gs pos="0">
                  <a:schemeClr val="accent2">
                    <a:lumMod val="50000"/>
                  </a:schemeClr>
                </a:gs>
                <a:gs pos="100000">
                  <a:schemeClr val="accent2">
                    <a:lumMod val="50000"/>
                    <a:alpha val="0"/>
                  </a:schemeClr>
                </a:gs>
              </a:gsLst>
              <a:lin ang="2700000" scaled="1"/>
              <a:tileRect/>
            </a:gra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pic>
        <p:nvPicPr>
          <p:cNvPr id="1028" name="Picture 4" descr="Copyright Special Lineal color icon">
            <a:extLst>
              <a:ext uri="{FF2B5EF4-FFF2-40B4-BE49-F238E27FC236}">
                <a16:creationId xmlns:a16="http://schemas.microsoft.com/office/drawing/2014/main" id="{3D1D9AA0-E2C1-ED8A-E6D4-FBC8CE35C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34964" y="1655060"/>
            <a:ext cx="418359" cy="41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Google Shape;2220;p41">
            <a:extLst>
              <a:ext uri="{FF2B5EF4-FFF2-40B4-BE49-F238E27FC236}">
                <a16:creationId xmlns:a16="http://schemas.microsoft.com/office/drawing/2014/main" id="{06F4E54C-FCDA-C075-A89F-DFBE98BF1E72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 flipH="1">
            <a:off x="222590" y="420842"/>
            <a:ext cx="736976" cy="406834"/>
            <a:chOff x="2633156" y="1606195"/>
            <a:chExt cx="1016031" cy="560639"/>
          </a:xfrm>
        </p:grpSpPr>
        <p:sp>
          <p:nvSpPr>
            <p:cNvPr id="106" name="Google Shape;2221;p41">
              <a:extLst>
                <a:ext uri="{FF2B5EF4-FFF2-40B4-BE49-F238E27FC236}">
                  <a16:creationId xmlns:a16="http://schemas.microsoft.com/office/drawing/2014/main" id="{A7CA7B93-4B09-4C5A-E05C-C3E261CCAA94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2654677" y="1909039"/>
              <a:ext cx="963787" cy="257795"/>
            </a:xfrm>
            <a:custGeom>
              <a:avLst/>
              <a:gdLst/>
              <a:ahLst/>
              <a:cxnLst/>
              <a:rect l="l" t="t" r="r" b="b"/>
              <a:pathLst>
                <a:path w="54901" h="14685" extrusionOk="0">
                  <a:moveTo>
                    <a:pt x="38541" y="0"/>
                  </a:moveTo>
                  <a:cubicBezTo>
                    <a:pt x="36660" y="3882"/>
                    <a:pt x="32790" y="6882"/>
                    <a:pt x="28480" y="7120"/>
                  </a:cubicBezTo>
                  <a:cubicBezTo>
                    <a:pt x="28324" y="7129"/>
                    <a:pt x="28167" y="7133"/>
                    <a:pt x="28011" y="7133"/>
                  </a:cubicBezTo>
                  <a:cubicBezTo>
                    <a:pt x="23864" y="7133"/>
                    <a:pt x="19707" y="4277"/>
                    <a:pt x="18800" y="227"/>
                  </a:cubicBezTo>
                  <a:cubicBezTo>
                    <a:pt x="16753" y="2001"/>
                    <a:pt x="14478" y="3608"/>
                    <a:pt x="11907" y="4501"/>
                  </a:cubicBezTo>
                  <a:cubicBezTo>
                    <a:pt x="10607" y="4950"/>
                    <a:pt x="9226" y="5204"/>
                    <a:pt x="7858" y="5204"/>
                  </a:cubicBezTo>
                  <a:cubicBezTo>
                    <a:pt x="6506" y="5204"/>
                    <a:pt x="5166" y="4956"/>
                    <a:pt x="3929" y="4406"/>
                  </a:cubicBezTo>
                  <a:cubicBezTo>
                    <a:pt x="2596" y="3810"/>
                    <a:pt x="1417" y="2846"/>
                    <a:pt x="596" y="1632"/>
                  </a:cubicBezTo>
                  <a:cubicBezTo>
                    <a:pt x="536" y="1548"/>
                    <a:pt x="489" y="1441"/>
                    <a:pt x="429" y="1322"/>
                  </a:cubicBezTo>
                  <a:cubicBezTo>
                    <a:pt x="119" y="2120"/>
                    <a:pt x="0" y="2989"/>
                    <a:pt x="155" y="3858"/>
                  </a:cubicBezTo>
                  <a:cubicBezTo>
                    <a:pt x="921" y="8219"/>
                    <a:pt x="5651" y="9726"/>
                    <a:pt x="10245" y="9726"/>
                  </a:cubicBezTo>
                  <a:cubicBezTo>
                    <a:pt x="12939" y="9726"/>
                    <a:pt x="15586" y="9208"/>
                    <a:pt x="17360" y="8442"/>
                  </a:cubicBezTo>
                  <a:cubicBezTo>
                    <a:pt x="17558" y="8356"/>
                    <a:pt x="17776" y="8269"/>
                    <a:pt x="17980" y="8269"/>
                  </a:cubicBezTo>
                  <a:cubicBezTo>
                    <a:pt x="18058" y="8269"/>
                    <a:pt x="18133" y="8282"/>
                    <a:pt x="18205" y="8311"/>
                  </a:cubicBezTo>
                  <a:cubicBezTo>
                    <a:pt x="18443" y="8406"/>
                    <a:pt x="18586" y="8656"/>
                    <a:pt x="18705" y="8883"/>
                  </a:cubicBezTo>
                  <a:cubicBezTo>
                    <a:pt x="20863" y="12794"/>
                    <a:pt x="24844" y="14684"/>
                    <a:pt x="28939" y="14684"/>
                  </a:cubicBezTo>
                  <a:cubicBezTo>
                    <a:pt x="31601" y="14684"/>
                    <a:pt x="34311" y="13885"/>
                    <a:pt x="36600" y="12323"/>
                  </a:cubicBezTo>
                  <a:cubicBezTo>
                    <a:pt x="38362" y="11133"/>
                    <a:pt x="40363" y="9383"/>
                    <a:pt x="40863" y="7299"/>
                  </a:cubicBezTo>
                  <a:cubicBezTo>
                    <a:pt x="42677" y="8267"/>
                    <a:pt x="44739" y="8766"/>
                    <a:pt x="46798" y="8766"/>
                  </a:cubicBezTo>
                  <a:cubicBezTo>
                    <a:pt x="47955" y="8766"/>
                    <a:pt x="49111" y="8609"/>
                    <a:pt x="50221" y="8287"/>
                  </a:cubicBezTo>
                  <a:cubicBezTo>
                    <a:pt x="52090" y="7763"/>
                    <a:pt x="53971" y="6644"/>
                    <a:pt x="54638" y="4822"/>
                  </a:cubicBezTo>
                  <a:cubicBezTo>
                    <a:pt x="54781" y="4418"/>
                    <a:pt x="54864" y="4001"/>
                    <a:pt x="54900" y="3572"/>
                  </a:cubicBezTo>
                  <a:lnTo>
                    <a:pt x="54900" y="3572"/>
                  </a:lnTo>
                  <a:cubicBezTo>
                    <a:pt x="53492" y="3880"/>
                    <a:pt x="52047" y="4032"/>
                    <a:pt x="50602" y="4032"/>
                  </a:cubicBezTo>
                  <a:cubicBezTo>
                    <a:pt x="46280" y="4032"/>
                    <a:pt x="41949" y="2668"/>
                    <a:pt x="38541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r" defTabSz="711200" rtl="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7" name="Google Shape;2222;p41">
              <a:extLst>
                <a:ext uri="{FF2B5EF4-FFF2-40B4-BE49-F238E27FC236}">
                  <a16:creationId xmlns:a16="http://schemas.microsoft.com/office/drawing/2014/main" id="{B2429E37-3D66-8B61-3BA5-96869C54838F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>
            <a:xfrm>
              <a:off x="2633156" y="1606195"/>
              <a:ext cx="1016031" cy="554282"/>
            </a:xfrm>
            <a:custGeom>
              <a:avLst/>
              <a:gdLst/>
              <a:ahLst/>
              <a:cxnLst/>
              <a:rect l="l" t="t" r="r" b="b"/>
              <a:pathLst>
                <a:path w="57875" h="31574" extrusionOk="0">
                  <a:moveTo>
                    <a:pt x="31675" y="900"/>
                  </a:moveTo>
                  <a:cubicBezTo>
                    <a:pt x="31984" y="900"/>
                    <a:pt x="32294" y="936"/>
                    <a:pt x="32599" y="1012"/>
                  </a:cubicBezTo>
                  <a:cubicBezTo>
                    <a:pt x="33790" y="1298"/>
                    <a:pt x="34826" y="2108"/>
                    <a:pt x="35528" y="3096"/>
                  </a:cubicBezTo>
                  <a:cubicBezTo>
                    <a:pt x="36445" y="4394"/>
                    <a:pt x="36862" y="5965"/>
                    <a:pt x="37040" y="7525"/>
                  </a:cubicBezTo>
                  <a:cubicBezTo>
                    <a:pt x="37064" y="7727"/>
                    <a:pt x="37171" y="7918"/>
                    <a:pt x="37398" y="7978"/>
                  </a:cubicBezTo>
                  <a:cubicBezTo>
                    <a:pt x="37438" y="7990"/>
                    <a:pt x="37482" y="7996"/>
                    <a:pt x="37526" y="7996"/>
                  </a:cubicBezTo>
                  <a:cubicBezTo>
                    <a:pt x="37688" y="7996"/>
                    <a:pt x="37859" y="7913"/>
                    <a:pt x="37933" y="7763"/>
                  </a:cubicBezTo>
                  <a:cubicBezTo>
                    <a:pt x="38735" y="6161"/>
                    <a:pt x="40311" y="5153"/>
                    <a:pt x="42028" y="5153"/>
                  </a:cubicBezTo>
                  <a:cubicBezTo>
                    <a:pt x="42428" y="5153"/>
                    <a:pt x="42836" y="5208"/>
                    <a:pt x="43244" y="5322"/>
                  </a:cubicBezTo>
                  <a:cubicBezTo>
                    <a:pt x="45387" y="5930"/>
                    <a:pt x="46577" y="7894"/>
                    <a:pt x="46780" y="10025"/>
                  </a:cubicBezTo>
                  <a:cubicBezTo>
                    <a:pt x="46911" y="11240"/>
                    <a:pt x="46792" y="12478"/>
                    <a:pt x="46506" y="13669"/>
                  </a:cubicBezTo>
                  <a:cubicBezTo>
                    <a:pt x="46431" y="13951"/>
                    <a:pt x="46660" y="14218"/>
                    <a:pt x="46924" y="14218"/>
                  </a:cubicBezTo>
                  <a:cubicBezTo>
                    <a:pt x="46994" y="14218"/>
                    <a:pt x="47067" y="14199"/>
                    <a:pt x="47137" y="14157"/>
                  </a:cubicBezTo>
                  <a:cubicBezTo>
                    <a:pt x="47892" y="13700"/>
                    <a:pt x="48711" y="13500"/>
                    <a:pt x="49539" y="13500"/>
                  </a:cubicBezTo>
                  <a:cubicBezTo>
                    <a:pt x="51992" y="13500"/>
                    <a:pt x="54532" y="15247"/>
                    <a:pt x="55769" y="17241"/>
                  </a:cubicBezTo>
                  <a:cubicBezTo>
                    <a:pt x="56257" y="18014"/>
                    <a:pt x="56579" y="18896"/>
                    <a:pt x="56436" y="19812"/>
                  </a:cubicBezTo>
                  <a:cubicBezTo>
                    <a:pt x="56293" y="20681"/>
                    <a:pt x="55805" y="21443"/>
                    <a:pt x="55233" y="22086"/>
                  </a:cubicBezTo>
                  <a:cubicBezTo>
                    <a:pt x="54626" y="22777"/>
                    <a:pt x="53900" y="23360"/>
                    <a:pt x="53126" y="23884"/>
                  </a:cubicBezTo>
                  <a:cubicBezTo>
                    <a:pt x="52328" y="24432"/>
                    <a:pt x="51459" y="24896"/>
                    <a:pt x="50518" y="25146"/>
                  </a:cubicBezTo>
                  <a:cubicBezTo>
                    <a:pt x="50082" y="25259"/>
                    <a:pt x="49647" y="25310"/>
                    <a:pt x="49215" y="25310"/>
                  </a:cubicBezTo>
                  <a:cubicBezTo>
                    <a:pt x="47647" y="25310"/>
                    <a:pt x="46126" y="24643"/>
                    <a:pt x="44744" y="23896"/>
                  </a:cubicBezTo>
                  <a:cubicBezTo>
                    <a:pt x="44291" y="23658"/>
                    <a:pt x="43839" y="23337"/>
                    <a:pt x="43363" y="23170"/>
                  </a:cubicBezTo>
                  <a:cubicBezTo>
                    <a:pt x="43227" y="23124"/>
                    <a:pt x="43093" y="23102"/>
                    <a:pt x="42963" y="23102"/>
                  </a:cubicBezTo>
                  <a:cubicBezTo>
                    <a:pt x="42624" y="23102"/>
                    <a:pt x="42308" y="23247"/>
                    <a:pt x="42041" y="23479"/>
                  </a:cubicBezTo>
                  <a:cubicBezTo>
                    <a:pt x="41708" y="23765"/>
                    <a:pt x="41481" y="24182"/>
                    <a:pt x="41231" y="24539"/>
                  </a:cubicBezTo>
                  <a:cubicBezTo>
                    <a:pt x="40969" y="24908"/>
                    <a:pt x="40696" y="25265"/>
                    <a:pt x="40410" y="25611"/>
                  </a:cubicBezTo>
                  <a:cubicBezTo>
                    <a:pt x="38076" y="28421"/>
                    <a:pt x="34743" y="30468"/>
                    <a:pt x="31016" y="30599"/>
                  </a:cubicBezTo>
                  <a:cubicBezTo>
                    <a:pt x="30889" y="30603"/>
                    <a:pt x="30763" y="30606"/>
                    <a:pt x="30636" y="30606"/>
                  </a:cubicBezTo>
                  <a:cubicBezTo>
                    <a:pt x="28924" y="30606"/>
                    <a:pt x="27190" y="30228"/>
                    <a:pt x="25682" y="29397"/>
                  </a:cubicBezTo>
                  <a:cubicBezTo>
                    <a:pt x="23967" y="28456"/>
                    <a:pt x="22670" y="26956"/>
                    <a:pt x="21574" y="25361"/>
                  </a:cubicBezTo>
                  <a:cubicBezTo>
                    <a:pt x="21288" y="24956"/>
                    <a:pt x="21015" y="24539"/>
                    <a:pt x="20741" y="24122"/>
                  </a:cubicBezTo>
                  <a:cubicBezTo>
                    <a:pt x="20647" y="23981"/>
                    <a:pt x="20506" y="23912"/>
                    <a:pt x="20364" y="23912"/>
                  </a:cubicBezTo>
                  <a:cubicBezTo>
                    <a:pt x="20220" y="23912"/>
                    <a:pt x="20075" y="23984"/>
                    <a:pt x="19979" y="24122"/>
                  </a:cubicBezTo>
                  <a:cubicBezTo>
                    <a:pt x="18550" y="26254"/>
                    <a:pt x="16193" y="27551"/>
                    <a:pt x="13740" y="28159"/>
                  </a:cubicBezTo>
                  <a:cubicBezTo>
                    <a:pt x="12591" y="28446"/>
                    <a:pt x="11370" y="28607"/>
                    <a:pt x="10151" y="28607"/>
                  </a:cubicBezTo>
                  <a:cubicBezTo>
                    <a:pt x="8541" y="28607"/>
                    <a:pt x="6932" y="28326"/>
                    <a:pt x="5489" y="27682"/>
                  </a:cubicBezTo>
                  <a:cubicBezTo>
                    <a:pt x="3203" y="26646"/>
                    <a:pt x="1167" y="24503"/>
                    <a:pt x="1012" y="21896"/>
                  </a:cubicBezTo>
                  <a:cubicBezTo>
                    <a:pt x="857" y="19431"/>
                    <a:pt x="2334" y="17062"/>
                    <a:pt x="4405" y="15824"/>
                  </a:cubicBezTo>
                  <a:cubicBezTo>
                    <a:pt x="5659" y="15076"/>
                    <a:pt x="7123" y="14751"/>
                    <a:pt x="8562" y="14751"/>
                  </a:cubicBezTo>
                  <a:cubicBezTo>
                    <a:pt x="8613" y="14751"/>
                    <a:pt x="8664" y="14751"/>
                    <a:pt x="8715" y="14752"/>
                  </a:cubicBezTo>
                  <a:cubicBezTo>
                    <a:pt x="10287" y="14788"/>
                    <a:pt x="11906" y="15169"/>
                    <a:pt x="13323" y="15836"/>
                  </a:cubicBezTo>
                  <a:cubicBezTo>
                    <a:pt x="13390" y="15868"/>
                    <a:pt x="13457" y="15882"/>
                    <a:pt x="13522" y="15882"/>
                  </a:cubicBezTo>
                  <a:cubicBezTo>
                    <a:pt x="13770" y="15882"/>
                    <a:pt x="13975" y="15666"/>
                    <a:pt x="13918" y="15383"/>
                  </a:cubicBezTo>
                  <a:cubicBezTo>
                    <a:pt x="13133" y="11990"/>
                    <a:pt x="12275" y="7847"/>
                    <a:pt x="14621" y="4846"/>
                  </a:cubicBezTo>
                  <a:cubicBezTo>
                    <a:pt x="15585" y="3596"/>
                    <a:pt x="17014" y="2834"/>
                    <a:pt x="18586" y="2763"/>
                  </a:cubicBezTo>
                  <a:cubicBezTo>
                    <a:pt x="18694" y="2758"/>
                    <a:pt x="18802" y="2755"/>
                    <a:pt x="18910" y="2755"/>
                  </a:cubicBezTo>
                  <a:cubicBezTo>
                    <a:pt x="20328" y="2755"/>
                    <a:pt x="21676" y="3197"/>
                    <a:pt x="22705" y="4215"/>
                  </a:cubicBezTo>
                  <a:cubicBezTo>
                    <a:pt x="23884" y="5394"/>
                    <a:pt x="24479" y="7120"/>
                    <a:pt x="24336" y="8787"/>
                  </a:cubicBezTo>
                  <a:cubicBezTo>
                    <a:pt x="24317" y="9052"/>
                    <a:pt x="24554" y="9202"/>
                    <a:pt x="24783" y="9202"/>
                  </a:cubicBezTo>
                  <a:cubicBezTo>
                    <a:pt x="24934" y="9202"/>
                    <a:pt x="25082" y="9137"/>
                    <a:pt x="25150" y="8996"/>
                  </a:cubicBezTo>
                  <a:lnTo>
                    <a:pt x="25150" y="8996"/>
                  </a:lnTo>
                  <a:cubicBezTo>
                    <a:pt x="25276" y="8978"/>
                    <a:pt x="25387" y="8895"/>
                    <a:pt x="25420" y="8728"/>
                  </a:cubicBezTo>
                  <a:cubicBezTo>
                    <a:pt x="25563" y="8013"/>
                    <a:pt x="25646" y="7299"/>
                    <a:pt x="25849" y="6608"/>
                  </a:cubicBezTo>
                  <a:cubicBezTo>
                    <a:pt x="26051" y="5918"/>
                    <a:pt x="26289" y="5227"/>
                    <a:pt x="26599" y="4584"/>
                  </a:cubicBezTo>
                  <a:cubicBezTo>
                    <a:pt x="27170" y="3406"/>
                    <a:pt x="28015" y="2358"/>
                    <a:pt x="29135" y="1667"/>
                  </a:cubicBezTo>
                  <a:cubicBezTo>
                    <a:pt x="29896" y="1198"/>
                    <a:pt x="30781" y="900"/>
                    <a:pt x="31675" y="900"/>
                  </a:cubicBezTo>
                  <a:close/>
                  <a:moveTo>
                    <a:pt x="31733" y="1"/>
                  </a:moveTo>
                  <a:cubicBezTo>
                    <a:pt x="29504" y="1"/>
                    <a:pt x="27473" y="1591"/>
                    <a:pt x="26384" y="3548"/>
                  </a:cubicBezTo>
                  <a:cubicBezTo>
                    <a:pt x="25956" y="4322"/>
                    <a:pt x="25622" y="5132"/>
                    <a:pt x="25360" y="5965"/>
                  </a:cubicBezTo>
                  <a:cubicBezTo>
                    <a:pt x="25295" y="6182"/>
                    <a:pt x="25230" y="6401"/>
                    <a:pt x="25167" y="6620"/>
                  </a:cubicBezTo>
                  <a:lnTo>
                    <a:pt x="25167" y="6620"/>
                  </a:lnTo>
                  <a:cubicBezTo>
                    <a:pt x="25147" y="6525"/>
                    <a:pt x="25124" y="6430"/>
                    <a:pt x="25098" y="6334"/>
                  </a:cubicBezTo>
                  <a:cubicBezTo>
                    <a:pt x="24860" y="5501"/>
                    <a:pt x="24456" y="4715"/>
                    <a:pt x="23920" y="4025"/>
                  </a:cubicBezTo>
                  <a:cubicBezTo>
                    <a:pt x="22824" y="2620"/>
                    <a:pt x="21181" y="1786"/>
                    <a:pt x="19395" y="1679"/>
                  </a:cubicBezTo>
                  <a:cubicBezTo>
                    <a:pt x="19273" y="1671"/>
                    <a:pt x="19150" y="1667"/>
                    <a:pt x="19028" y="1667"/>
                  </a:cubicBezTo>
                  <a:cubicBezTo>
                    <a:pt x="17385" y="1667"/>
                    <a:pt x="15739" y="2399"/>
                    <a:pt x="14609" y="3584"/>
                  </a:cubicBezTo>
                  <a:cubicBezTo>
                    <a:pt x="13407" y="4858"/>
                    <a:pt x="12692" y="6608"/>
                    <a:pt x="12454" y="8323"/>
                  </a:cubicBezTo>
                  <a:cubicBezTo>
                    <a:pt x="12140" y="10470"/>
                    <a:pt x="12489" y="12626"/>
                    <a:pt x="12942" y="14734"/>
                  </a:cubicBezTo>
                  <a:lnTo>
                    <a:pt x="12942" y="14734"/>
                  </a:lnTo>
                  <a:cubicBezTo>
                    <a:pt x="11790" y="14186"/>
                    <a:pt x="10574" y="13839"/>
                    <a:pt x="9287" y="13752"/>
                  </a:cubicBezTo>
                  <a:cubicBezTo>
                    <a:pt x="9062" y="13737"/>
                    <a:pt x="8836" y="13729"/>
                    <a:pt x="8611" y="13729"/>
                  </a:cubicBezTo>
                  <a:cubicBezTo>
                    <a:pt x="7276" y="13729"/>
                    <a:pt x="5951" y="14001"/>
                    <a:pt x="4739" y="14562"/>
                  </a:cubicBezTo>
                  <a:cubicBezTo>
                    <a:pt x="2286" y="15705"/>
                    <a:pt x="441" y="18193"/>
                    <a:pt x="226" y="20908"/>
                  </a:cubicBezTo>
                  <a:cubicBezTo>
                    <a:pt x="0" y="23706"/>
                    <a:pt x="1703" y="26301"/>
                    <a:pt x="4012" y="27742"/>
                  </a:cubicBezTo>
                  <a:cubicBezTo>
                    <a:pt x="5854" y="28891"/>
                    <a:pt x="8061" y="29350"/>
                    <a:pt x="10251" y="29350"/>
                  </a:cubicBezTo>
                  <a:cubicBezTo>
                    <a:pt x="11148" y="29350"/>
                    <a:pt x="12042" y="29273"/>
                    <a:pt x="12906" y="29135"/>
                  </a:cubicBezTo>
                  <a:cubicBezTo>
                    <a:pt x="15743" y="28682"/>
                    <a:pt x="18508" y="27381"/>
                    <a:pt x="20328" y="25126"/>
                  </a:cubicBezTo>
                  <a:lnTo>
                    <a:pt x="20328" y="25126"/>
                  </a:lnTo>
                  <a:cubicBezTo>
                    <a:pt x="21356" y="26721"/>
                    <a:pt x="22500" y="28270"/>
                    <a:pt x="24027" y="29444"/>
                  </a:cubicBezTo>
                  <a:cubicBezTo>
                    <a:pt x="25610" y="30659"/>
                    <a:pt x="27539" y="31349"/>
                    <a:pt x="29528" y="31528"/>
                  </a:cubicBezTo>
                  <a:cubicBezTo>
                    <a:pt x="29869" y="31558"/>
                    <a:pt x="30210" y="31573"/>
                    <a:pt x="30549" y="31573"/>
                  </a:cubicBezTo>
                  <a:cubicBezTo>
                    <a:pt x="34186" y="31573"/>
                    <a:pt x="37610" y="29859"/>
                    <a:pt x="40148" y="27278"/>
                  </a:cubicBezTo>
                  <a:cubicBezTo>
                    <a:pt x="40839" y="26587"/>
                    <a:pt x="41470" y="25813"/>
                    <a:pt x="42029" y="25015"/>
                  </a:cubicBezTo>
                  <a:cubicBezTo>
                    <a:pt x="42232" y="24718"/>
                    <a:pt x="42482" y="24170"/>
                    <a:pt x="42839" y="24051"/>
                  </a:cubicBezTo>
                  <a:cubicBezTo>
                    <a:pt x="42870" y="24041"/>
                    <a:pt x="42901" y="24037"/>
                    <a:pt x="42932" y="24037"/>
                  </a:cubicBezTo>
                  <a:cubicBezTo>
                    <a:pt x="43091" y="24037"/>
                    <a:pt x="43247" y="24150"/>
                    <a:pt x="43386" y="24230"/>
                  </a:cubicBezTo>
                  <a:cubicBezTo>
                    <a:pt x="43625" y="24372"/>
                    <a:pt x="43875" y="24515"/>
                    <a:pt x="44125" y="24658"/>
                  </a:cubicBezTo>
                  <a:cubicBezTo>
                    <a:pt x="45698" y="25532"/>
                    <a:pt x="47399" y="26280"/>
                    <a:pt x="49187" y="26280"/>
                  </a:cubicBezTo>
                  <a:cubicBezTo>
                    <a:pt x="49591" y="26280"/>
                    <a:pt x="49999" y="26242"/>
                    <a:pt x="50411" y="26158"/>
                  </a:cubicBezTo>
                  <a:cubicBezTo>
                    <a:pt x="51423" y="25956"/>
                    <a:pt x="52388" y="25492"/>
                    <a:pt x="53245" y="24944"/>
                  </a:cubicBezTo>
                  <a:cubicBezTo>
                    <a:pt x="54102" y="24396"/>
                    <a:pt x="54924" y="23765"/>
                    <a:pt x="55626" y="23039"/>
                  </a:cubicBezTo>
                  <a:cubicBezTo>
                    <a:pt x="56995" y="21622"/>
                    <a:pt x="57876" y="19669"/>
                    <a:pt x="57114" y="17717"/>
                  </a:cubicBezTo>
                  <a:cubicBezTo>
                    <a:pt x="56424" y="15907"/>
                    <a:pt x="54805" y="14443"/>
                    <a:pt x="53126" y="13550"/>
                  </a:cubicBezTo>
                  <a:cubicBezTo>
                    <a:pt x="52031" y="12973"/>
                    <a:pt x="50771" y="12585"/>
                    <a:pt x="49524" y="12585"/>
                  </a:cubicBezTo>
                  <a:cubicBezTo>
                    <a:pt x="48966" y="12585"/>
                    <a:pt x="48412" y="12663"/>
                    <a:pt x="47875" y="12835"/>
                  </a:cubicBezTo>
                  <a:cubicBezTo>
                    <a:pt x="47750" y="12878"/>
                    <a:pt x="47627" y="12925"/>
                    <a:pt x="47506" y="12977"/>
                  </a:cubicBezTo>
                  <a:lnTo>
                    <a:pt x="47506" y="12977"/>
                  </a:lnTo>
                  <a:cubicBezTo>
                    <a:pt x="47831" y="10899"/>
                    <a:pt x="47800" y="8670"/>
                    <a:pt x="46661" y="6846"/>
                  </a:cubicBezTo>
                  <a:cubicBezTo>
                    <a:pt x="45653" y="5242"/>
                    <a:pt x="43825" y="4265"/>
                    <a:pt x="41970" y="4265"/>
                  </a:cubicBezTo>
                  <a:cubicBezTo>
                    <a:pt x="41348" y="4265"/>
                    <a:pt x="40722" y="4375"/>
                    <a:pt x="40124" y="4608"/>
                  </a:cubicBezTo>
                  <a:cubicBezTo>
                    <a:pt x="39234" y="4958"/>
                    <a:pt x="38413" y="5516"/>
                    <a:pt x="37792" y="6248"/>
                  </a:cubicBezTo>
                  <a:lnTo>
                    <a:pt x="37792" y="6248"/>
                  </a:lnTo>
                  <a:cubicBezTo>
                    <a:pt x="37568" y="5115"/>
                    <a:pt x="37207" y="4013"/>
                    <a:pt x="36600" y="3025"/>
                  </a:cubicBezTo>
                  <a:cubicBezTo>
                    <a:pt x="35850" y="1810"/>
                    <a:pt x="34743" y="822"/>
                    <a:pt x="33409" y="310"/>
                  </a:cubicBezTo>
                  <a:cubicBezTo>
                    <a:pt x="32846" y="98"/>
                    <a:pt x="32283" y="1"/>
                    <a:pt x="3173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r" defTabSz="711200" rtl="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</p:grpSp>
      <p:sp>
        <p:nvSpPr>
          <p:cNvPr id="26" name="btfpBulletedList680341">
            <a:extLst>
              <a:ext uri="{FF2B5EF4-FFF2-40B4-BE49-F238E27FC236}">
                <a16:creationId xmlns:a16="http://schemas.microsoft.com/office/drawing/2014/main" id="{B840431E-1F64-243D-1399-E9E24E928826}"/>
              </a:ext>
            </a:extLst>
          </p:cNvPr>
          <p:cNvSpPr/>
          <p:nvPr/>
        </p:nvSpPr>
        <p:spPr bwMode="gray">
          <a:xfrm flipH="1">
            <a:off x="334963" y="2025316"/>
            <a:ext cx="11533186" cy="4324350"/>
          </a:xfrm>
          <a:custGeom>
            <a:avLst/>
            <a:gdLst>
              <a:gd name="connsiteX0" fmla="*/ 0 w 11533186"/>
              <a:gd name="connsiteY0" fmla="*/ 0 h 4324350"/>
              <a:gd name="connsiteX1" fmla="*/ 0 w 11533186"/>
              <a:gd name="connsiteY1" fmla="*/ 0 h 4324350"/>
              <a:gd name="connsiteX2" fmla="*/ 332427 w 11533186"/>
              <a:gd name="connsiteY2" fmla="*/ 0 h 4324350"/>
              <a:gd name="connsiteX3" fmla="*/ 1241514 w 11533186"/>
              <a:gd name="connsiteY3" fmla="*/ 0 h 4324350"/>
              <a:gd name="connsiteX4" fmla="*/ 2150600 w 11533186"/>
              <a:gd name="connsiteY4" fmla="*/ 0 h 4324350"/>
              <a:gd name="connsiteX5" fmla="*/ 2713691 w 11533186"/>
              <a:gd name="connsiteY5" fmla="*/ 0 h 4324350"/>
              <a:gd name="connsiteX6" fmla="*/ 3161450 w 11533186"/>
              <a:gd name="connsiteY6" fmla="*/ 0 h 4324350"/>
              <a:gd name="connsiteX7" fmla="*/ 3724541 w 11533186"/>
              <a:gd name="connsiteY7" fmla="*/ 0 h 4324350"/>
              <a:gd name="connsiteX8" fmla="*/ 4056968 w 11533186"/>
              <a:gd name="connsiteY8" fmla="*/ 0 h 4324350"/>
              <a:gd name="connsiteX9" fmla="*/ 4850722 w 11533186"/>
              <a:gd name="connsiteY9" fmla="*/ 0 h 4324350"/>
              <a:gd name="connsiteX10" fmla="*/ 5759809 w 11533186"/>
              <a:gd name="connsiteY10" fmla="*/ 0 h 4324350"/>
              <a:gd name="connsiteX11" fmla="*/ 6322900 w 11533186"/>
              <a:gd name="connsiteY11" fmla="*/ 0 h 4324350"/>
              <a:gd name="connsiteX12" fmla="*/ 6770659 w 11533186"/>
              <a:gd name="connsiteY12" fmla="*/ 0 h 4324350"/>
              <a:gd name="connsiteX13" fmla="*/ 7679745 w 11533186"/>
              <a:gd name="connsiteY13" fmla="*/ 0 h 4324350"/>
              <a:gd name="connsiteX14" fmla="*/ 8242836 w 11533186"/>
              <a:gd name="connsiteY14" fmla="*/ 0 h 4324350"/>
              <a:gd name="connsiteX15" fmla="*/ 8690595 w 11533186"/>
              <a:gd name="connsiteY15" fmla="*/ 0 h 4324350"/>
              <a:gd name="connsiteX16" fmla="*/ 9599681 w 11533186"/>
              <a:gd name="connsiteY16" fmla="*/ 0 h 4324350"/>
              <a:gd name="connsiteX17" fmla="*/ 10047440 w 11533186"/>
              <a:gd name="connsiteY17" fmla="*/ 0 h 4324350"/>
              <a:gd name="connsiteX18" fmla="*/ 10725863 w 11533186"/>
              <a:gd name="connsiteY18" fmla="*/ 0 h 4324350"/>
              <a:gd name="connsiteX19" fmla="*/ 11533186 w 11533186"/>
              <a:gd name="connsiteY19" fmla="*/ 0 h 4324350"/>
              <a:gd name="connsiteX20" fmla="*/ 11533186 w 11533186"/>
              <a:gd name="connsiteY20" fmla="*/ 0 h 4324350"/>
              <a:gd name="connsiteX21" fmla="*/ 11533186 w 11533186"/>
              <a:gd name="connsiteY21" fmla="*/ 661008 h 4324350"/>
              <a:gd name="connsiteX22" fmla="*/ 11533186 w 11533186"/>
              <a:gd name="connsiteY22" fmla="*/ 1149042 h 4324350"/>
              <a:gd name="connsiteX23" fmla="*/ 11533186 w 11533186"/>
              <a:gd name="connsiteY23" fmla="*/ 1853293 h 4324350"/>
              <a:gd name="connsiteX24" fmla="*/ 11533186 w 11533186"/>
              <a:gd name="connsiteY24" fmla="*/ 2514301 h 4324350"/>
              <a:gd name="connsiteX25" fmla="*/ 11533186 w 11533186"/>
              <a:gd name="connsiteY25" fmla="*/ 3045578 h 4324350"/>
              <a:gd name="connsiteX26" fmla="*/ 11533186 w 11533186"/>
              <a:gd name="connsiteY26" fmla="*/ 3576855 h 4324350"/>
              <a:gd name="connsiteX27" fmla="*/ 11533186 w 11533186"/>
              <a:gd name="connsiteY27" fmla="*/ 4324350 h 4324350"/>
              <a:gd name="connsiteX28" fmla="*/ 11533186 w 11533186"/>
              <a:gd name="connsiteY28" fmla="*/ 4324350 h 4324350"/>
              <a:gd name="connsiteX29" fmla="*/ 10624100 w 11533186"/>
              <a:gd name="connsiteY29" fmla="*/ 4324350 h 4324350"/>
              <a:gd name="connsiteX30" fmla="*/ 10176341 w 11533186"/>
              <a:gd name="connsiteY30" fmla="*/ 4324350 h 4324350"/>
              <a:gd name="connsiteX31" fmla="*/ 9843913 w 11533186"/>
              <a:gd name="connsiteY31" fmla="*/ 4324350 h 4324350"/>
              <a:gd name="connsiteX32" fmla="*/ 9050159 w 11533186"/>
              <a:gd name="connsiteY32" fmla="*/ 4324350 h 4324350"/>
              <a:gd name="connsiteX33" fmla="*/ 8256404 w 11533186"/>
              <a:gd name="connsiteY33" fmla="*/ 4324350 h 4324350"/>
              <a:gd name="connsiteX34" fmla="*/ 7347318 w 11533186"/>
              <a:gd name="connsiteY34" fmla="*/ 4324350 h 4324350"/>
              <a:gd name="connsiteX35" fmla="*/ 6668895 w 11533186"/>
              <a:gd name="connsiteY35" fmla="*/ 4324350 h 4324350"/>
              <a:gd name="connsiteX36" fmla="*/ 6336468 w 11533186"/>
              <a:gd name="connsiteY36" fmla="*/ 4324350 h 4324350"/>
              <a:gd name="connsiteX37" fmla="*/ 5888709 w 11533186"/>
              <a:gd name="connsiteY37" fmla="*/ 4324350 h 4324350"/>
              <a:gd name="connsiteX38" fmla="*/ 5210286 w 11533186"/>
              <a:gd name="connsiteY38" fmla="*/ 4324350 h 4324350"/>
              <a:gd name="connsiteX39" fmla="*/ 4531864 w 11533186"/>
              <a:gd name="connsiteY39" fmla="*/ 4324350 h 4324350"/>
              <a:gd name="connsiteX40" fmla="*/ 3853441 w 11533186"/>
              <a:gd name="connsiteY40" fmla="*/ 4324350 h 4324350"/>
              <a:gd name="connsiteX41" fmla="*/ 3290350 w 11533186"/>
              <a:gd name="connsiteY41" fmla="*/ 4324350 h 4324350"/>
              <a:gd name="connsiteX42" fmla="*/ 2381264 w 11533186"/>
              <a:gd name="connsiteY42" fmla="*/ 4324350 h 4324350"/>
              <a:gd name="connsiteX43" fmla="*/ 1818173 w 11533186"/>
              <a:gd name="connsiteY43" fmla="*/ 4324350 h 4324350"/>
              <a:gd name="connsiteX44" fmla="*/ 1024418 w 11533186"/>
              <a:gd name="connsiteY44" fmla="*/ 4324350 h 4324350"/>
              <a:gd name="connsiteX45" fmla="*/ 0 w 11533186"/>
              <a:gd name="connsiteY45" fmla="*/ 4324350 h 4324350"/>
              <a:gd name="connsiteX46" fmla="*/ 0 w 11533186"/>
              <a:gd name="connsiteY46" fmla="*/ 4324350 h 4324350"/>
              <a:gd name="connsiteX47" fmla="*/ 0 w 11533186"/>
              <a:gd name="connsiteY47" fmla="*/ 3663342 h 4324350"/>
              <a:gd name="connsiteX48" fmla="*/ 0 w 11533186"/>
              <a:gd name="connsiteY48" fmla="*/ 3088821 h 4324350"/>
              <a:gd name="connsiteX49" fmla="*/ 0 w 11533186"/>
              <a:gd name="connsiteY49" fmla="*/ 2471057 h 4324350"/>
              <a:gd name="connsiteX50" fmla="*/ 0 w 11533186"/>
              <a:gd name="connsiteY50" fmla="*/ 1853293 h 4324350"/>
              <a:gd name="connsiteX51" fmla="*/ 0 w 11533186"/>
              <a:gd name="connsiteY51" fmla="*/ 1235529 h 4324350"/>
              <a:gd name="connsiteX52" fmla="*/ 0 w 11533186"/>
              <a:gd name="connsiteY52" fmla="*/ 617764 h 4324350"/>
              <a:gd name="connsiteX53" fmla="*/ 0 w 11533186"/>
              <a:gd name="connsiteY53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1533186" h="4324350" fill="none" extrusionOk="0">
                <a:moveTo>
                  <a:pt x="0" y="0"/>
                </a:moveTo>
                <a:lnTo>
                  <a:pt x="0" y="0"/>
                </a:lnTo>
                <a:cubicBezTo>
                  <a:pt x="147806" y="5211"/>
                  <a:pt x="214746" y="9113"/>
                  <a:pt x="332427" y="0"/>
                </a:cubicBezTo>
                <a:cubicBezTo>
                  <a:pt x="450108" y="-9113"/>
                  <a:pt x="1015838" y="-44242"/>
                  <a:pt x="1241514" y="0"/>
                </a:cubicBezTo>
                <a:cubicBezTo>
                  <a:pt x="1467190" y="44242"/>
                  <a:pt x="1757857" y="5015"/>
                  <a:pt x="2150600" y="0"/>
                </a:cubicBezTo>
                <a:cubicBezTo>
                  <a:pt x="2543343" y="-5015"/>
                  <a:pt x="2515047" y="-18444"/>
                  <a:pt x="2713691" y="0"/>
                </a:cubicBezTo>
                <a:cubicBezTo>
                  <a:pt x="2912335" y="18444"/>
                  <a:pt x="3070766" y="20822"/>
                  <a:pt x="3161450" y="0"/>
                </a:cubicBezTo>
                <a:cubicBezTo>
                  <a:pt x="3252134" y="-20822"/>
                  <a:pt x="3585266" y="22028"/>
                  <a:pt x="3724541" y="0"/>
                </a:cubicBezTo>
                <a:cubicBezTo>
                  <a:pt x="3863816" y="-22028"/>
                  <a:pt x="3974889" y="-980"/>
                  <a:pt x="4056968" y="0"/>
                </a:cubicBezTo>
                <a:cubicBezTo>
                  <a:pt x="4139047" y="980"/>
                  <a:pt x="4519821" y="29422"/>
                  <a:pt x="4850722" y="0"/>
                </a:cubicBezTo>
                <a:cubicBezTo>
                  <a:pt x="5181623" y="-29422"/>
                  <a:pt x="5346438" y="7590"/>
                  <a:pt x="5759809" y="0"/>
                </a:cubicBezTo>
                <a:cubicBezTo>
                  <a:pt x="6173180" y="-7590"/>
                  <a:pt x="6205363" y="11890"/>
                  <a:pt x="6322900" y="0"/>
                </a:cubicBezTo>
                <a:cubicBezTo>
                  <a:pt x="6440437" y="-11890"/>
                  <a:pt x="6660955" y="15581"/>
                  <a:pt x="6770659" y="0"/>
                </a:cubicBezTo>
                <a:cubicBezTo>
                  <a:pt x="6880363" y="-15581"/>
                  <a:pt x="7495055" y="20531"/>
                  <a:pt x="7679745" y="0"/>
                </a:cubicBezTo>
                <a:cubicBezTo>
                  <a:pt x="7864435" y="-20531"/>
                  <a:pt x="8114566" y="22678"/>
                  <a:pt x="8242836" y="0"/>
                </a:cubicBezTo>
                <a:cubicBezTo>
                  <a:pt x="8371106" y="-22678"/>
                  <a:pt x="8573295" y="19561"/>
                  <a:pt x="8690595" y="0"/>
                </a:cubicBezTo>
                <a:cubicBezTo>
                  <a:pt x="8807895" y="-19561"/>
                  <a:pt x="9203241" y="20735"/>
                  <a:pt x="9599681" y="0"/>
                </a:cubicBezTo>
                <a:cubicBezTo>
                  <a:pt x="9996121" y="-20735"/>
                  <a:pt x="9848454" y="-17313"/>
                  <a:pt x="10047440" y="0"/>
                </a:cubicBezTo>
                <a:cubicBezTo>
                  <a:pt x="10246426" y="17313"/>
                  <a:pt x="10392904" y="7428"/>
                  <a:pt x="10725863" y="0"/>
                </a:cubicBezTo>
                <a:cubicBezTo>
                  <a:pt x="11058822" y="-7428"/>
                  <a:pt x="11136133" y="-25542"/>
                  <a:pt x="11533186" y="0"/>
                </a:cubicBezTo>
                <a:lnTo>
                  <a:pt x="11533186" y="0"/>
                </a:lnTo>
                <a:cubicBezTo>
                  <a:pt x="11558308" y="229059"/>
                  <a:pt x="11561684" y="491134"/>
                  <a:pt x="11533186" y="661008"/>
                </a:cubicBezTo>
                <a:cubicBezTo>
                  <a:pt x="11504688" y="830882"/>
                  <a:pt x="11548201" y="966161"/>
                  <a:pt x="11533186" y="1149042"/>
                </a:cubicBezTo>
                <a:cubicBezTo>
                  <a:pt x="11518171" y="1331923"/>
                  <a:pt x="11533592" y="1578232"/>
                  <a:pt x="11533186" y="1853293"/>
                </a:cubicBezTo>
                <a:cubicBezTo>
                  <a:pt x="11532780" y="2128354"/>
                  <a:pt x="11512456" y="2260501"/>
                  <a:pt x="11533186" y="2514301"/>
                </a:cubicBezTo>
                <a:cubicBezTo>
                  <a:pt x="11553916" y="2768101"/>
                  <a:pt x="11550353" y="2915286"/>
                  <a:pt x="11533186" y="3045578"/>
                </a:cubicBezTo>
                <a:cubicBezTo>
                  <a:pt x="11516019" y="3175870"/>
                  <a:pt x="11534683" y="3364917"/>
                  <a:pt x="11533186" y="3576855"/>
                </a:cubicBezTo>
                <a:cubicBezTo>
                  <a:pt x="11531689" y="3788793"/>
                  <a:pt x="11501591" y="4161436"/>
                  <a:pt x="11533186" y="4324350"/>
                </a:cubicBezTo>
                <a:lnTo>
                  <a:pt x="11533186" y="4324350"/>
                </a:lnTo>
                <a:cubicBezTo>
                  <a:pt x="11281612" y="4307268"/>
                  <a:pt x="10864555" y="4303882"/>
                  <a:pt x="10624100" y="4324350"/>
                </a:cubicBezTo>
                <a:cubicBezTo>
                  <a:pt x="10383645" y="4344818"/>
                  <a:pt x="10378651" y="4307030"/>
                  <a:pt x="10176341" y="4324350"/>
                </a:cubicBezTo>
                <a:cubicBezTo>
                  <a:pt x="9974031" y="4341670"/>
                  <a:pt x="9938492" y="4325567"/>
                  <a:pt x="9843913" y="4324350"/>
                </a:cubicBezTo>
                <a:cubicBezTo>
                  <a:pt x="9749334" y="4323133"/>
                  <a:pt x="9282936" y="4358599"/>
                  <a:pt x="9050159" y="4324350"/>
                </a:cubicBezTo>
                <a:cubicBezTo>
                  <a:pt x="8817382" y="4290101"/>
                  <a:pt x="8603522" y="4299267"/>
                  <a:pt x="8256404" y="4324350"/>
                </a:cubicBezTo>
                <a:cubicBezTo>
                  <a:pt x="7909287" y="4349433"/>
                  <a:pt x="7604553" y="4288920"/>
                  <a:pt x="7347318" y="4324350"/>
                </a:cubicBezTo>
                <a:cubicBezTo>
                  <a:pt x="7090083" y="4359780"/>
                  <a:pt x="6997970" y="4299680"/>
                  <a:pt x="6668895" y="4324350"/>
                </a:cubicBezTo>
                <a:cubicBezTo>
                  <a:pt x="6339820" y="4349020"/>
                  <a:pt x="6432501" y="4332401"/>
                  <a:pt x="6336468" y="4324350"/>
                </a:cubicBezTo>
                <a:cubicBezTo>
                  <a:pt x="6240435" y="4316299"/>
                  <a:pt x="6007063" y="4310735"/>
                  <a:pt x="5888709" y="4324350"/>
                </a:cubicBezTo>
                <a:cubicBezTo>
                  <a:pt x="5770355" y="4337965"/>
                  <a:pt x="5440697" y="4290806"/>
                  <a:pt x="5210286" y="4324350"/>
                </a:cubicBezTo>
                <a:cubicBezTo>
                  <a:pt x="4979875" y="4357894"/>
                  <a:pt x="4722700" y="4300266"/>
                  <a:pt x="4531864" y="4324350"/>
                </a:cubicBezTo>
                <a:cubicBezTo>
                  <a:pt x="4341028" y="4348434"/>
                  <a:pt x="4049696" y="4348870"/>
                  <a:pt x="3853441" y="4324350"/>
                </a:cubicBezTo>
                <a:cubicBezTo>
                  <a:pt x="3657186" y="4299830"/>
                  <a:pt x="3482041" y="4345456"/>
                  <a:pt x="3290350" y="4324350"/>
                </a:cubicBezTo>
                <a:cubicBezTo>
                  <a:pt x="3098659" y="4303244"/>
                  <a:pt x="2672456" y="4287280"/>
                  <a:pt x="2381264" y="4324350"/>
                </a:cubicBezTo>
                <a:cubicBezTo>
                  <a:pt x="2090072" y="4361420"/>
                  <a:pt x="2052885" y="4345778"/>
                  <a:pt x="1818173" y="4324350"/>
                </a:cubicBezTo>
                <a:cubicBezTo>
                  <a:pt x="1583461" y="4302922"/>
                  <a:pt x="1205651" y="4286544"/>
                  <a:pt x="1024418" y="4324350"/>
                </a:cubicBezTo>
                <a:cubicBezTo>
                  <a:pt x="843186" y="4362156"/>
                  <a:pt x="239242" y="4298798"/>
                  <a:pt x="0" y="4324350"/>
                </a:cubicBezTo>
                <a:lnTo>
                  <a:pt x="0" y="4324350"/>
                </a:lnTo>
                <a:cubicBezTo>
                  <a:pt x="7249" y="4148540"/>
                  <a:pt x="29659" y="3872984"/>
                  <a:pt x="0" y="3663342"/>
                </a:cubicBezTo>
                <a:cubicBezTo>
                  <a:pt x="-29659" y="3453700"/>
                  <a:pt x="821" y="3287663"/>
                  <a:pt x="0" y="3088821"/>
                </a:cubicBezTo>
                <a:cubicBezTo>
                  <a:pt x="-821" y="2889979"/>
                  <a:pt x="-8217" y="2675433"/>
                  <a:pt x="0" y="2471057"/>
                </a:cubicBezTo>
                <a:cubicBezTo>
                  <a:pt x="8217" y="2266681"/>
                  <a:pt x="-23380" y="2010085"/>
                  <a:pt x="0" y="1853293"/>
                </a:cubicBezTo>
                <a:cubicBezTo>
                  <a:pt x="23380" y="1696501"/>
                  <a:pt x="25727" y="1413143"/>
                  <a:pt x="0" y="1235529"/>
                </a:cubicBezTo>
                <a:cubicBezTo>
                  <a:pt x="-25727" y="1057915"/>
                  <a:pt x="-20969" y="884784"/>
                  <a:pt x="0" y="617764"/>
                </a:cubicBezTo>
                <a:cubicBezTo>
                  <a:pt x="20969" y="350744"/>
                  <a:pt x="-25324" y="150190"/>
                  <a:pt x="0" y="0"/>
                </a:cubicBezTo>
                <a:close/>
              </a:path>
              <a:path w="11533186" h="4324350" stroke="0" extrusionOk="0">
                <a:moveTo>
                  <a:pt x="0" y="0"/>
                </a:moveTo>
                <a:lnTo>
                  <a:pt x="0" y="0"/>
                </a:lnTo>
                <a:cubicBezTo>
                  <a:pt x="146414" y="-13761"/>
                  <a:pt x="291477" y="7651"/>
                  <a:pt x="563091" y="0"/>
                </a:cubicBezTo>
                <a:cubicBezTo>
                  <a:pt x="834705" y="-7651"/>
                  <a:pt x="768736" y="1559"/>
                  <a:pt x="895518" y="0"/>
                </a:cubicBezTo>
                <a:cubicBezTo>
                  <a:pt x="1022300" y="-1559"/>
                  <a:pt x="1439915" y="30365"/>
                  <a:pt x="1804604" y="0"/>
                </a:cubicBezTo>
                <a:cubicBezTo>
                  <a:pt x="2169293" y="-30365"/>
                  <a:pt x="2247832" y="-21461"/>
                  <a:pt x="2483027" y="0"/>
                </a:cubicBezTo>
                <a:cubicBezTo>
                  <a:pt x="2718222" y="21461"/>
                  <a:pt x="2836740" y="2365"/>
                  <a:pt x="3046118" y="0"/>
                </a:cubicBezTo>
                <a:cubicBezTo>
                  <a:pt x="3255496" y="-2365"/>
                  <a:pt x="3288162" y="-5376"/>
                  <a:pt x="3493877" y="0"/>
                </a:cubicBezTo>
                <a:cubicBezTo>
                  <a:pt x="3699592" y="5376"/>
                  <a:pt x="4031289" y="-7109"/>
                  <a:pt x="4402963" y="0"/>
                </a:cubicBezTo>
                <a:cubicBezTo>
                  <a:pt x="4774637" y="7109"/>
                  <a:pt x="4628595" y="-9408"/>
                  <a:pt x="4735390" y="0"/>
                </a:cubicBezTo>
                <a:cubicBezTo>
                  <a:pt x="4842185" y="9408"/>
                  <a:pt x="5103513" y="-19276"/>
                  <a:pt x="5413813" y="0"/>
                </a:cubicBezTo>
                <a:cubicBezTo>
                  <a:pt x="5724113" y="19276"/>
                  <a:pt x="5951871" y="25357"/>
                  <a:pt x="6207568" y="0"/>
                </a:cubicBezTo>
                <a:cubicBezTo>
                  <a:pt x="6463265" y="-25357"/>
                  <a:pt x="6744914" y="-37553"/>
                  <a:pt x="7116654" y="0"/>
                </a:cubicBezTo>
                <a:cubicBezTo>
                  <a:pt x="7488394" y="37553"/>
                  <a:pt x="7290563" y="11507"/>
                  <a:pt x="7449081" y="0"/>
                </a:cubicBezTo>
                <a:cubicBezTo>
                  <a:pt x="7607599" y="-11507"/>
                  <a:pt x="7813149" y="2335"/>
                  <a:pt x="8012172" y="0"/>
                </a:cubicBezTo>
                <a:cubicBezTo>
                  <a:pt x="8211195" y="-2335"/>
                  <a:pt x="8521644" y="18446"/>
                  <a:pt x="8805927" y="0"/>
                </a:cubicBezTo>
                <a:cubicBezTo>
                  <a:pt x="9090210" y="-18446"/>
                  <a:pt x="9014812" y="-6314"/>
                  <a:pt x="9138354" y="0"/>
                </a:cubicBezTo>
                <a:cubicBezTo>
                  <a:pt x="9261896" y="6314"/>
                  <a:pt x="9572406" y="-18412"/>
                  <a:pt x="9701445" y="0"/>
                </a:cubicBezTo>
                <a:cubicBezTo>
                  <a:pt x="9830484" y="18412"/>
                  <a:pt x="10188269" y="7070"/>
                  <a:pt x="10610531" y="0"/>
                </a:cubicBezTo>
                <a:cubicBezTo>
                  <a:pt x="11032793" y="-7070"/>
                  <a:pt x="10844892" y="-5469"/>
                  <a:pt x="10942958" y="0"/>
                </a:cubicBezTo>
                <a:cubicBezTo>
                  <a:pt x="11041024" y="5469"/>
                  <a:pt x="11387308" y="-23403"/>
                  <a:pt x="11533186" y="0"/>
                </a:cubicBezTo>
                <a:lnTo>
                  <a:pt x="11533186" y="0"/>
                </a:lnTo>
                <a:cubicBezTo>
                  <a:pt x="11540917" y="332556"/>
                  <a:pt x="11560774" y="383095"/>
                  <a:pt x="11533186" y="704251"/>
                </a:cubicBezTo>
                <a:cubicBezTo>
                  <a:pt x="11505598" y="1025407"/>
                  <a:pt x="11550045" y="1177199"/>
                  <a:pt x="11533186" y="1322016"/>
                </a:cubicBezTo>
                <a:cubicBezTo>
                  <a:pt x="11516327" y="1466834"/>
                  <a:pt x="11564836" y="1721490"/>
                  <a:pt x="11533186" y="2026267"/>
                </a:cubicBezTo>
                <a:cubicBezTo>
                  <a:pt x="11501536" y="2331044"/>
                  <a:pt x="11545385" y="2499984"/>
                  <a:pt x="11533186" y="2687275"/>
                </a:cubicBezTo>
                <a:cubicBezTo>
                  <a:pt x="11520987" y="2874566"/>
                  <a:pt x="11555847" y="3035006"/>
                  <a:pt x="11533186" y="3261795"/>
                </a:cubicBezTo>
                <a:cubicBezTo>
                  <a:pt x="11510525" y="3488584"/>
                  <a:pt x="11489419" y="4035098"/>
                  <a:pt x="11533186" y="4324350"/>
                </a:cubicBezTo>
                <a:lnTo>
                  <a:pt x="11533186" y="4324350"/>
                </a:lnTo>
                <a:cubicBezTo>
                  <a:pt x="11145204" y="4300276"/>
                  <a:pt x="10946383" y="4337359"/>
                  <a:pt x="10739431" y="4324350"/>
                </a:cubicBezTo>
                <a:cubicBezTo>
                  <a:pt x="10532479" y="4311341"/>
                  <a:pt x="10190190" y="4355762"/>
                  <a:pt x="9945677" y="4324350"/>
                </a:cubicBezTo>
                <a:cubicBezTo>
                  <a:pt x="9701164" y="4292938"/>
                  <a:pt x="9708005" y="4336548"/>
                  <a:pt x="9497918" y="4324350"/>
                </a:cubicBezTo>
                <a:cubicBezTo>
                  <a:pt x="9287831" y="4312152"/>
                  <a:pt x="8945933" y="4291884"/>
                  <a:pt x="8588831" y="4324350"/>
                </a:cubicBezTo>
                <a:cubicBezTo>
                  <a:pt x="8231729" y="4356816"/>
                  <a:pt x="8077547" y="4324671"/>
                  <a:pt x="7795077" y="4324350"/>
                </a:cubicBezTo>
                <a:cubicBezTo>
                  <a:pt x="7512607" y="4324029"/>
                  <a:pt x="7154125" y="4368920"/>
                  <a:pt x="6885990" y="4324350"/>
                </a:cubicBezTo>
                <a:cubicBezTo>
                  <a:pt x="6617855" y="4279780"/>
                  <a:pt x="6686792" y="4316858"/>
                  <a:pt x="6553563" y="4324350"/>
                </a:cubicBezTo>
                <a:cubicBezTo>
                  <a:pt x="6420334" y="4331842"/>
                  <a:pt x="6133590" y="4357451"/>
                  <a:pt x="5875141" y="4324350"/>
                </a:cubicBezTo>
                <a:cubicBezTo>
                  <a:pt x="5616692" y="4291249"/>
                  <a:pt x="5624617" y="4328432"/>
                  <a:pt x="5542714" y="4324350"/>
                </a:cubicBezTo>
                <a:cubicBezTo>
                  <a:pt x="5460811" y="4320268"/>
                  <a:pt x="5093439" y="4343551"/>
                  <a:pt x="4979623" y="4324350"/>
                </a:cubicBezTo>
                <a:cubicBezTo>
                  <a:pt x="4865807" y="4305149"/>
                  <a:pt x="4404733" y="4349354"/>
                  <a:pt x="4185868" y="4324350"/>
                </a:cubicBezTo>
                <a:cubicBezTo>
                  <a:pt x="3967004" y="4299346"/>
                  <a:pt x="3768294" y="4351510"/>
                  <a:pt x="3507445" y="4324350"/>
                </a:cubicBezTo>
                <a:cubicBezTo>
                  <a:pt x="3246596" y="4297190"/>
                  <a:pt x="3255305" y="4336235"/>
                  <a:pt x="3175018" y="4324350"/>
                </a:cubicBezTo>
                <a:cubicBezTo>
                  <a:pt x="3094731" y="4312465"/>
                  <a:pt x="2939921" y="4322280"/>
                  <a:pt x="2842591" y="4324350"/>
                </a:cubicBezTo>
                <a:cubicBezTo>
                  <a:pt x="2745261" y="4326420"/>
                  <a:pt x="2481513" y="4317666"/>
                  <a:pt x="2164168" y="4324350"/>
                </a:cubicBezTo>
                <a:cubicBezTo>
                  <a:pt x="1846823" y="4331034"/>
                  <a:pt x="1993969" y="4315271"/>
                  <a:pt x="1831741" y="4324350"/>
                </a:cubicBezTo>
                <a:cubicBezTo>
                  <a:pt x="1669513" y="4333429"/>
                  <a:pt x="1336227" y="4352058"/>
                  <a:pt x="1153319" y="4324350"/>
                </a:cubicBezTo>
                <a:cubicBezTo>
                  <a:pt x="970411" y="4296642"/>
                  <a:pt x="764930" y="4317801"/>
                  <a:pt x="590228" y="4324350"/>
                </a:cubicBezTo>
                <a:cubicBezTo>
                  <a:pt x="415526" y="4330899"/>
                  <a:pt x="239044" y="4318808"/>
                  <a:pt x="0" y="4324350"/>
                </a:cubicBezTo>
                <a:lnTo>
                  <a:pt x="0" y="4324350"/>
                </a:lnTo>
                <a:cubicBezTo>
                  <a:pt x="-21795" y="4172176"/>
                  <a:pt x="-21213" y="3959321"/>
                  <a:pt x="0" y="3836316"/>
                </a:cubicBezTo>
                <a:cubicBezTo>
                  <a:pt x="21213" y="3713311"/>
                  <a:pt x="18686" y="3484657"/>
                  <a:pt x="0" y="3305039"/>
                </a:cubicBezTo>
                <a:cubicBezTo>
                  <a:pt x="-18686" y="3125421"/>
                  <a:pt x="-20318" y="2841880"/>
                  <a:pt x="0" y="2687275"/>
                </a:cubicBezTo>
                <a:cubicBezTo>
                  <a:pt x="20318" y="2532670"/>
                  <a:pt x="-7793" y="2314952"/>
                  <a:pt x="0" y="2199241"/>
                </a:cubicBezTo>
                <a:cubicBezTo>
                  <a:pt x="7793" y="2083530"/>
                  <a:pt x="30524" y="1758433"/>
                  <a:pt x="0" y="1538233"/>
                </a:cubicBezTo>
                <a:cubicBezTo>
                  <a:pt x="-30524" y="1318033"/>
                  <a:pt x="6335" y="1220644"/>
                  <a:pt x="0" y="963712"/>
                </a:cubicBezTo>
                <a:cubicBezTo>
                  <a:pt x="-6335" y="706780"/>
                  <a:pt x="30967" y="193918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5">
                  <a:lumMod val="20000"/>
                  <a:lumOff val="80000"/>
                  <a:alpha val="39000"/>
                </a:schemeClr>
              </a:gs>
              <a:gs pos="100000">
                <a:schemeClr val="accent5">
                  <a:lumMod val="20000"/>
                  <a:lumOff val="80000"/>
                  <a:alpha val="10000"/>
                </a:schemeClr>
              </a:gs>
            </a:gsLst>
            <a:lin ang="5400000" scaled="1"/>
            <a:tileRect/>
          </a:gradFill>
          <a:ln w="9525">
            <a:noFill/>
            <a:extLst>
              <a:ext uri="{C807C97D-BFC1-408E-A445-0C87EB9F89A2}">
                <ask:lineSketchStyleProps xmlns:ask="http://schemas.microsoft.com/office/drawing/2018/sketchyshapes" sd="3102501959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91440" rIns="182880" bIns="18288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19" name="btfpBulletedList680341">
            <a:extLst>
              <a:ext uri="{FF2B5EF4-FFF2-40B4-BE49-F238E27FC236}">
                <a16:creationId xmlns:a16="http://schemas.microsoft.com/office/drawing/2014/main" id="{BBBD884F-30E3-5BF0-B8B1-EE93636A908C}"/>
              </a:ext>
            </a:extLst>
          </p:cNvPr>
          <p:cNvSpPr/>
          <p:nvPr/>
        </p:nvSpPr>
        <p:spPr bwMode="gray">
          <a:xfrm flipH="1">
            <a:off x="334963" y="1417886"/>
            <a:ext cx="11533186" cy="655533"/>
          </a:xfrm>
          <a:custGeom>
            <a:avLst/>
            <a:gdLst>
              <a:gd name="connsiteX0" fmla="*/ 137157 w 11533186"/>
              <a:gd name="connsiteY0" fmla="*/ 0 h 655533"/>
              <a:gd name="connsiteX1" fmla="*/ 574266 w 11533186"/>
              <a:gd name="connsiteY1" fmla="*/ 0 h 655533"/>
              <a:gd name="connsiteX2" fmla="*/ 1123964 w 11533186"/>
              <a:gd name="connsiteY2" fmla="*/ 0 h 655533"/>
              <a:gd name="connsiteX3" fmla="*/ 1786251 w 11533186"/>
              <a:gd name="connsiteY3" fmla="*/ 0 h 655533"/>
              <a:gd name="connsiteX4" fmla="*/ 2223360 w 11533186"/>
              <a:gd name="connsiteY4" fmla="*/ 0 h 655533"/>
              <a:gd name="connsiteX5" fmla="*/ 3110824 w 11533186"/>
              <a:gd name="connsiteY5" fmla="*/ 0 h 655533"/>
              <a:gd name="connsiteX6" fmla="*/ 3773110 w 11533186"/>
              <a:gd name="connsiteY6" fmla="*/ 0 h 655533"/>
              <a:gd name="connsiteX7" fmla="*/ 4660574 w 11533186"/>
              <a:gd name="connsiteY7" fmla="*/ 0 h 655533"/>
              <a:gd name="connsiteX8" fmla="*/ 5435450 w 11533186"/>
              <a:gd name="connsiteY8" fmla="*/ 0 h 655533"/>
              <a:gd name="connsiteX9" fmla="*/ 5985148 w 11533186"/>
              <a:gd name="connsiteY9" fmla="*/ 0 h 655533"/>
              <a:gd name="connsiteX10" fmla="*/ 6760023 w 11533186"/>
              <a:gd name="connsiteY10" fmla="*/ 0 h 655533"/>
              <a:gd name="connsiteX11" fmla="*/ 7197132 w 11533186"/>
              <a:gd name="connsiteY11" fmla="*/ 0 h 655533"/>
              <a:gd name="connsiteX12" fmla="*/ 7859419 w 11533186"/>
              <a:gd name="connsiteY12" fmla="*/ 0 h 655533"/>
              <a:gd name="connsiteX13" fmla="*/ 8183939 w 11533186"/>
              <a:gd name="connsiteY13" fmla="*/ 0 h 655533"/>
              <a:gd name="connsiteX14" fmla="*/ 9071403 w 11533186"/>
              <a:gd name="connsiteY14" fmla="*/ 0 h 655533"/>
              <a:gd name="connsiteX15" fmla="*/ 9733690 w 11533186"/>
              <a:gd name="connsiteY15" fmla="*/ 0 h 655533"/>
              <a:gd name="connsiteX16" fmla="*/ 10621154 w 11533186"/>
              <a:gd name="connsiteY16" fmla="*/ 0 h 655533"/>
              <a:gd name="connsiteX17" fmla="*/ 11396029 w 11533186"/>
              <a:gd name="connsiteY17" fmla="*/ 0 h 655533"/>
              <a:gd name="connsiteX18" fmla="*/ 11533186 w 11533186"/>
              <a:gd name="connsiteY18" fmla="*/ 137157 h 655533"/>
              <a:gd name="connsiteX19" fmla="*/ 11533186 w 11533186"/>
              <a:gd name="connsiteY19" fmla="*/ 655533 h 655533"/>
              <a:gd name="connsiteX20" fmla="*/ 11533186 w 11533186"/>
              <a:gd name="connsiteY20" fmla="*/ 655533 h 655533"/>
              <a:gd name="connsiteX21" fmla="*/ 10624100 w 11533186"/>
              <a:gd name="connsiteY21" fmla="*/ 655533 h 655533"/>
              <a:gd name="connsiteX22" fmla="*/ 9945677 w 11533186"/>
              <a:gd name="connsiteY22" fmla="*/ 655533 h 655533"/>
              <a:gd name="connsiteX23" fmla="*/ 9382586 w 11533186"/>
              <a:gd name="connsiteY23" fmla="*/ 655533 h 655533"/>
              <a:gd name="connsiteX24" fmla="*/ 8819495 w 11533186"/>
              <a:gd name="connsiteY24" fmla="*/ 655533 h 655533"/>
              <a:gd name="connsiteX25" fmla="*/ 8256404 w 11533186"/>
              <a:gd name="connsiteY25" fmla="*/ 655533 h 655533"/>
              <a:gd name="connsiteX26" fmla="*/ 7693313 w 11533186"/>
              <a:gd name="connsiteY26" fmla="*/ 655533 h 655533"/>
              <a:gd name="connsiteX27" fmla="*/ 6899559 w 11533186"/>
              <a:gd name="connsiteY27" fmla="*/ 655533 h 655533"/>
              <a:gd name="connsiteX28" fmla="*/ 6221136 w 11533186"/>
              <a:gd name="connsiteY28" fmla="*/ 655533 h 655533"/>
              <a:gd name="connsiteX29" fmla="*/ 5888709 w 11533186"/>
              <a:gd name="connsiteY29" fmla="*/ 655533 h 655533"/>
              <a:gd name="connsiteX30" fmla="*/ 5325618 w 11533186"/>
              <a:gd name="connsiteY30" fmla="*/ 655533 h 655533"/>
              <a:gd name="connsiteX31" fmla="*/ 4531864 w 11533186"/>
              <a:gd name="connsiteY31" fmla="*/ 655533 h 655533"/>
              <a:gd name="connsiteX32" fmla="*/ 4084105 w 11533186"/>
              <a:gd name="connsiteY32" fmla="*/ 655533 h 655533"/>
              <a:gd name="connsiteX33" fmla="*/ 3175018 w 11533186"/>
              <a:gd name="connsiteY33" fmla="*/ 655533 h 655533"/>
              <a:gd name="connsiteX34" fmla="*/ 2265932 w 11533186"/>
              <a:gd name="connsiteY34" fmla="*/ 655533 h 655533"/>
              <a:gd name="connsiteX35" fmla="*/ 1587509 w 11533186"/>
              <a:gd name="connsiteY35" fmla="*/ 655533 h 655533"/>
              <a:gd name="connsiteX36" fmla="*/ 678423 w 11533186"/>
              <a:gd name="connsiteY36" fmla="*/ 655533 h 655533"/>
              <a:gd name="connsiteX37" fmla="*/ 0 w 11533186"/>
              <a:gd name="connsiteY37" fmla="*/ 655533 h 655533"/>
              <a:gd name="connsiteX38" fmla="*/ 0 w 11533186"/>
              <a:gd name="connsiteY38" fmla="*/ 655533 h 655533"/>
              <a:gd name="connsiteX39" fmla="*/ 0 w 11533186"/>
              <a:gd name="connsiteY39" fmla="*/ 137157 h 655533"/>
              <a:gd name="connsiteX40" fmla="*/ 137157 w 11533186"/>
              <a:gd name="connsiteY40" fmla="*/ 0 h 65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1533186" h="655533" fill="none" extrusionOk="0">
                <a:moveTo>
                  <a:pt x="137157" y="0"/>
                </a:moveTo>
                <a:cubicBezTo>
                  <a:pt x="245873" y="-17273"/>
                  <a:pt x="483481" y="20171"/>
                  <a:pt x="574266" y="0"/>
                </a:cubicBezTo>
                <a:cubicBezTo>
                  <a:pt x="665051" y="-20171"/>
                  <a:pt x="979093" y="-20731"/>
                  <a:pt x="1123964" y="0"/>
                </a:cubicBezTo>
                <a:cubicBezTo>
                  <a:pt x="1268835" y="20731"/>
                  <a:pt x="1573820" y="11647"/>
                  <a:pt x="1786251" y="0"/>
                </a:cubicBezTo>
                <a:cubicBezTo>
                  <a:pt x="1998682" y="-11647"/>
                  <a:pt x="2070180" y="3163"/>
                  <a:pt x="2223360" y="0"/>
                </a:cubicBezTo>
                <a:cubicBezTo>
                  <a:pt x="2376540" y="-3163"/>
                  <a:pt x="2835127" y="21227"/>
                  <a:pt x="3110824" y="0"/>
                </a:cubicBezTo>
                <a:cubicBezTo>
                  <a:pt x="3386521" y="-21227"/>
                  <a:pt x="3446676" y="14257"/>
                  <a:pt x="3773110" y="0"/>
                </a:cubicBezTo>
                <a:cubicBezTo>
                  <a:pt x="4099544" y="-14257"/>
                  <a:pt x="4300108" y="-31608"/>
                  <a:pt x="4660574" y="0"/>
                </a:cubicBezTo>
                <a:cubicBezTo>
                  <a:pt x="5021040" y="31608"/>
                  <a:pt x="5068565" y="400"/>
                  <a:pt x="5435450" y="0"/>
                </a:cubicBezTo>
                <a:cubicBezTo>
                  <a:pt x="5802335" y="-400"/>
                  <a:pt x="5770329" y="-23569"/>
                  <a:pt x="5985148" y="0"/>
                </a:cubicBezTo>
                <a:cubicBezTo>
                  <a:pt x="6199967" y="23569"/>
                  <a:pt x="6571182" y="14234"/>
                  <a:pt x="6760023" y="0"/>
                </a:cubicBezTo>
                <a:cubicBezTo>
                  <a:pt x="6948864" y="-14234"/>
                  <a:pt x="7105067" y="13422"/>
                  <a:pt x="7197132" y="0"/>
                </a:cubicBezTo>
                <a:cubicBezTo>
                  <a:pt x="7289197" y="-13422"/>
                  <a:pt x="7625918" y="7825"/>
                  <a:pt x="7859419" y="0"/>
                </a:cubicBezTo>
                <a:cubicBezTo>
                  <a:pt x="8092920" y="-7825"/>
                  <a:pt x="8109562" y="-865"/>
                  <a:pt x="8183939" y="0"/>
                </a:cubicBezTo>
                <a:cubicBezTo>
                  <a:pt x="8258316" y="865"/>
                  <a:pt x="8877743" y="38167"/>
                  <a:pt x="9071403" y="0"/>
                </a:cubicBezTo>
                <a:cubicBezTo>
                  <a:pt x="9265063" y="-38167"/>
                  <a:pt x="9459666" y="-24798"/>
                  <a:pt x="9733690" y="0"/>
                </a:cubicBezTo>
                <a:cubicBezTo>
                  <a:pt x="10007714" y="24798"/>
                  <a:pt x="10381323" y="-17007"/>
                  <a:pt x="10621154" y="0"/>
                </a:cubicBezTo>
                <a:cubicBezTo>
                  <a:pt x="10860985" y="17007"/>
                  <a:pt x="11219993" y="-26285"/>
                  <a:pt x="11396029" y="0"/>
                </a:cubicBezTo>
                <a:cubicBezTo>
                  <a:pt x="11467250" y="-4853"/>
                  <a:pt x="11540887" y="67608"/>
                  <a:pt x="11533186" y="137157"/>
                </a:cubicBezTo>
                <a:cubicBezTo>
                  <a:pt x="11548739" y="360776"/>
                  <a:pt x="11545853" y="537119"/>
                  <a:pt x="11533186" y="655533"/>
                </a:cubicBezTo>
                <a:lnTo>
                  <a:pt x="11533186" y="655533"/>
                </a:lnTo>
                <a:cubicBezTo>
                  <a:pt x="11329596" y="693263"/>
                  <a:pt x="11019617" y="613731"/>
                  <a:pt x="10624100" y="655533"/>
                </a:cubicBezTo>
                <a:cubicBezTo>
                  <a:pt x="10228583" y="697335"/>
                  <a:pt x="10170679" y="630986"/>
                  <a:pt x="9945677" y="655533"/>
                </a:cubicBezTo>
                <a:cubicBezTo>
                  <a:pt x="9720675" y="680080"/>
                  <a:pt x="9632934" y="671662"/>
                  <a:pt x="9382586" y="655533"/>
                </a:cubicBezTo>
                <a:cubicBezTo>
                  <a:pt x="9132238" y="639404"/>
                  <a:pt x="9090790" y="675936"/>
                  <a:pt x="8819495" y="655533"/>
                </a:cubicBezTo>
                <a:cubicBezTo>
                  <a:pt x="8548200" y="635130"/>
                  <a:pt x="8396479" y="642752"/>
                  <a:pt x="8256404" y="655533"/>
                </a:cubicBezTo>
                <a:cubicBezTo>
                  <a:pt x="8116329" y="668314"/>
                  <a:pt x="7859505" y="680296"/>
                  <a:pt x="7693313" y="655533"/>
                </a:cubicBezTo>
                <a:cubicBezTo>
                  <a:pt x="7527121" y="630770"/>
                  <a:pt x="7191787" y="644180"/>
                  <a:pt x="6899559" y="655533"/>
                </a:cubicBezTo>
                <a:cubicBezTo>
                  <a:pt x="6607331" y="666886"/>
                  <a:pt x="6513349" y="684263"/>
                  <a:pt x="6221136" y="655533"/>
                </a:cubicBezTo>
                <a:cubicBezTo>
                  <a:pt x="5928923" y="626803"/>
                  <a:pt x="5962268" y="671312"/>
                  <a:pt x="5888709" y="655533"/>
                </a:cubicBezTo>
                <a:cubicBezTo>
                  <a:pt x="5815150" y="639754"/>
                  <a:pt x="5566181" y="656761"/>
                  <a:pt x="5325618" y="655533"/>
                </a:cubicBezTo>
                <a:cubicBezTo>
                  <a:pt x="5085055" y="654305"/>
                  <a:pt x="4868536" y="652151"/>
                  <a:pt x="4531864" y="655533"/>
                </a:cubicBezTo>
                <a:cubicBezTo>
                  <a:pt x="4195192" y="658915"/>
                  <a:pt x="4298583" y="649731"/>
                  <a:pt x="4084105" y="655533"/>
                </a:cubicBezTo>
                <a:cubicBezTo>
                  <a:pt x="3869627" y="661335"/>
                  <a:pt x="3579631" y="628928"/>
                  <a:pt x="3175018" y="655533"/>
                </a:cubicBezTo>
                <a:cubicBezTo>
                  <a:pt x="2770405" y="682138"/>
                  <a:pt x="2532808" y="683385"/>
                  <a:pt x="2265932" y="655533"/>
                </a:cubicBezTo>
                <a:cubicBezTo>
                  <a:pt x="1999056" y="627681"/>
                  <a:pt x="1769124" y="639468"/>
                  <a:pt x="1587509" y="655533"/>
                </a:cubicBezTo>
                <a:cubicBezTo>
                  <a:pt x="1405894" y="671598"/>
                  <a:pt x="1079114" y="680852"/>
                  <a:pt x="678423" y="655533"/>
                </a:cubicBezTo>
                <a:cubicBezTo>
                  <a:pt x="277732" y="630214"/>
                  <a:pt x="173726" y="685069"/>
                  <a:pt x="0" y="655533"/>
                </a:cubicBezTo>
                <a:lnTo>
                  <a:pt x="0" y="655533"/>
                </a:lnTo>
                <a:cubicBezTo>
                  <a:pt x="-19170" y="513214"/>
                  <a:pt x="16146" y="267576"/>
                  <a:pt x="0" y="137157"/>
                </a:cubicBezTo>
                <a:cubicBezTo>
                  <a:pt x="-4734" y="59052"/>
                  <a:pt x="48473" y="-8791"/>
                  <a:pt x="137157" y="0"/>
                </a:cubicBezTo>
                <a:close/>
              </a:path>
              <a:path w="11533186" h="655533" stroke="0" extrusionOk="0">
                <a:moveTo>
                  <a:pt x="137157" y="0"/>
                </a:moveTo>
                <a:cubicBezTo>
                  <a:pt x="283655" y="-10827"/>
                  <a:pt x="492263" y="-13825"/>
                  <a:pt x="686855" y="0"/>
                </a:cubicBezTo>
                <a:cubicBezTo>
                  <a:pt x="881447" y="13825"/>
                  <a:pt x="906569" y="4675"/>
                  <a:pt x="1011375" y="0"/>
                </a:cubicBezTo>
                <a:cubicBezTo>
                  <a:pt x="1116181" y="-4675"/>
                  <a:pt x="1555597" y="11262"/>
                  <a:pt x="1898839" y="0"/>
                </a:cubicBezTo>
                <a:cubicBezTo>
                  <a:pt x="2242081" y="-11262"/>
                  <a:pt x="2311657" y="-1813"/>
                  <a:pt x="2448537" y="0"/>
                </a:cubicBezTo>
                <a:cubicBezTo>
                  <a:pt x="2585417" y="1813"/>
                  <a:pt x="2810799" y="-14490"/>
                  <a:pt x="2998235" y="0"/>
                </a:cubicBezTo>
                <a:cubicBezTo>
                  <a:pt x="3185671" y="14490"/>
                  <a:pt x="3585168" y="33321"/>
                  <a:pt x="3885699" y="0"/>
                </a:cubicBezTo>
                <a:cubicBezTo>
                  <a:pt x="4186230" y="-33321"/>
                  <a:pt x="4137304" y="-3750"/>
                  <a:pt x="4322808" y="0"/>
                </a:cubicBezTo>
                <a:cubicBezTo>
                  <a:pt x="4508312" y="3750"/>
                  <a:pt x="5015180" y="-39630"/>
                  <a:pt x="5210272" y="0"/>
                </a:cubicBezTo>
                <a:cubicBezTo>
                  <a:pt x="5405364" y="39630"/>
                  <a:pt x="5706721" y="-26513"/>
                  <a:pt x="6097736" y="0"/>
                </a:cubicBezTo>
                <a:cubicBezTo>
                  <a:pt x="6488751" y="26513"/>
                  <a:pt x="6460726" y="-30137"/>
                  <a:pt x="6760023" y="0"/>
                </a:cubicBezTo>
                <a:cubicBezTo>
                  <a:pt x="7059320" y="30137"/>
                  <a:pt x="7418589" y="-7403"/>
                  <a:pt x="7647487" y="0"/>
                </a:cubicBezTo>
                <a:cubicBezTo>
                  <a:pt x="7876385" y="7403"/>
                  <a:pt x="8032990" y="-6860"/>
                  <a:pt x="8197185" y="0"/>
                </a:cubicBezTo>
                <a:cubicBezTo>
                  <a:pt x="8361380" y="6860"/>
                  <a:pt x="8612091" y="7740"/>
                  <a:pt x="8746883" y="0"/>
                </a:cubicBezTo>
                <a:cubicBezTo>
                  <a:pt x="8881675" y="-7740"/>
                  <a:pt x="9170960" y="-16549"/>
                  <a:pt x="9521758" y="0"/>
                </a:cubicBezTo>
                <a:cubicBezTo>
                  <a:pt x="9872557" y="16549"/>
                  <a:pt x="9895884" y="-2339"/>
                  <a:pt x="10071456" y="0"/>
                </a:cubicBezTo>
                <a:cubicBezTo>
                  <a:pt x="10247028" y="2339"/>
                  <a:pt x="10760531" y="-37794"/>
                  <a:pt x="11396029" y="0"/>
                </a:cubicBezTo>
                <a:cubicBezTo>
                  <a:pt x="11461163" y="-7325"/>
                  <a:pt x="11521429" y="60572"/>
                  <a:pt x="11533186" y="137157"/>
                </a:cubicBezTo>
                <a:cubicBezTo>
                  <a:pt x="11518441" y="301805"/>
                  <a:pt x="11553389" y="410665"/>
                  <a:pt x="11533186" y="655533"/>
                </a:cubicBezTo>
                <a:lnTo>
                  <a:pt x="11533186" y="655533"/>
                </a:lnTo>
                <a:cubicBezTo>
                  <a:pt x="11395327" y="648010"/>
                  <a:pt x="11351535" y="665649"/>
                  <a:pt x="11200759" y="655533"/>
                </a:cubicBezTo>
                <a:cubicBezTo>
                  <a:pt x="11049983" y="645417"/>
                  <a:pt x="10859107" y="669959"/>
                  <a:pt x="10753000" y="655533"/>
                </a:cubicBezTo>
                <a:cubicBezTo>
                  <a:pt x="10646893" y="641107"/>
                  <a:pt x="10239665" y="665233"/>
                  <a:pt x="9959245" y="655533"/>
                </a:cubicBezTo>
                <a:cubicBezTo>
                  <a:pt x="9678826" y="645833"/>
                  <a:pt x="9649481" y="650422"/>
                  <a:pt x="9396154" y="655533"/>
                </a:cubicBezTo>
                <a:cubicBezTo>
                  <a:pt x="9142827" y="660644"/>
                  <a:pt x="9147179" y="649567"/>
                  <a:pt x="8948395" y="655533"/>
                </a:cubicBezTo>
                <a:cubicBezTo>
                  <a:pt x="8749611" y="661499"/>
                  <a:pt x="8487478" y="675819"/>
                  <a:pt x="8154641" y="655533"/>
                </a:cubicBezTo>
                <a:cubicBezTo>
                  <a:pt x="7821804" y="635247"/>
                  <a:pt x="7660890" y="627633"/>
                  <a:pt x="7476218" y="655533"/>
                </a:cubicBezTo>
                <a:cubicBezTo>
                  <a:pt x="7291546" y="683433"/>
                  <a:pt x="7095211" y="656604"/>
                  <a:pt x="6797796" y="655533"/>
                </a:cubicBezTo>
                <a:cubicBezTo>
                  <a:pt x="6500381" y="654462"/>
                  <a:pt x="6077535" y="636358"/>
                  <a:pt x="5888709" y="655533"/>
                </a:cubicBezTo>
                <a:cubicBezTo>
                  <a:pt x="5699883" y="674708"/>
                  <a:pt x="5346593" y="668585"/>
                  <a:pt x="5094955" y="655533"/>
                </a:cubicBezTo>
                <a:cubicBezTo>
                  <a:pt x="4843317" y="642481"/>
                  <a:pt x="4849608" y="652489"/>
                  <a:pt x="4762527" y="655533"/>
                </a:cubicBezTo>
                <a:cubicBezTo>
                  <a:pt x="4675446" y="658577"/>
                  <a:pt x="4471510" y="657705"/>
                  <a:pt x="4199437" y="655533"/>
                </a:cubicBezTo>
                <a:cubicBezTo>
                  <a:pt x="3927364" y="653362"/>
                  <a:pt x="3559598" y="620612"/>
                  <a:pt x="3290350" y="655533"/>
                </a:cubicBezTo>
                <a:cubicBezTo>
                  <a:pt x="3021102" y="690454"/>
                  <a:pt x="2810611" y="672733"/>
                  <a:pt x="2611927" y="655533"/>
                </a:cubicBezTo>
                <a:cubicBezTo>
                  <a:pt x="2413243" y="638333"/>
                  <a:pt x="2036967" y="661156"/>
                  <a:pt x="1818173" y="655533"/>
                </a:cubicBezTo>
                <a:cubicBezTo>
                  <a:pt x="1599379" y="649910"/>
                  <a:pt x="1526042" y="638286"/>
                  <a:pt x="1255082" y="655533"/>
                </a:cubicBezTo>
                <a:cubicBezTo>
                  <a:pt x="984122" y="672780"/>
                  <a:pt x="312926" y="647533"/>
                  <a:pt x="0" y="655533"/>
                </a:cubicBezTo>
                <a:lnTo>
                  <a:pt x="0" y="655533"/>
                </a:lnTo>
                <a:cubicBezTo>
                  <a:pt x="-14787" y="512609"/>
                  <a:pt x="-23543" y="387526"/>
                  <a:pt x="0" y="137157"/>
                </a:cubicBezTo>
                <a:cubicBezTo>
                  <a:pt x="9340" y="58935"/>
                  <a:pt x="60190" y="8429"/>
                  <a:pt x="137157" y="0"/>
                </a:cubicBezTo>
                <a:close/>
              </a:path>
            </a:pathLst>
          </a:custGeom>
          <a:solidFill>
            <a:schemeClr val="accent5"/>
          </a:solidFill>
          <a:ln w="28575">
            <a:solidFill>
              <a:schemeClr val="bg1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2SameRect">
                    <a:avLst>
                      <a:gd name="adj1" fmla="val 20923"/>
                      <a:gd name="adj2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L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المعايير التي يجب على مقدمي التدريب في مجال تنمية الطفولة المبكرة إثباتها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17" name="btfpBulletedList475162">
            <a:extLst>
              <a:ext uri="{FF2B5EF4-FFF2-40B4-BE49-F238E27FC236}">
                <a16:creationId xmlns:a16="http://schemas.microsoft.com/office/drawing/2014/main" id="{736B3D68-E86C-F467-7C5F-33827F19D42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0800000" flipH="1" flipV="1">
            <a:off x="334965" y="6290132"/>
            <a:ext cx="11533185" cy="59534"/>
          </a:xfrm>
          <a:custGeom>
            <a:avLst/>
            <a:gdLst>
              <a:gd name="connsiteX0" fmla="*/ 22446 w 11533185"/>
              <a:gd name="connsiteY0" fmla="*/ 302 h 59534"/>
              <a:gd name="connsiteX1" fmla="*/ 670884 w 11533185"/>
              <a:gd name="connsiteY1" fmla="*/ 504 h 59534"/>
              <a:gd name="connsiteX2" fmla="*/ 1373359 w 11533185"/>
              <a:gd name="connsiteY2" fmla="*/ 723 h 59534"/>
              <a:gd name="connsiteX3" fmla="*/ 2180985 w 11533185"/>
              <a:gd name="connsiteY3" fmla="*/ 636 h 59534"/>
              <a:gd name="connsiteX4" fmla="*/ 2921310 w 11533185"/>
              <a:gd name="connsiteY4" fmla="*/ 557 h 59534"/>
              <a:gd name="connsiteX5" fmla="*/ 3728936 w 11533185"/>
              <a:gd name="connsiteY5" fmla="*/ 470 h 59534"/>
              <a:gd name="connsiteX6" fmla="*/ 4401958 w 11533185"/>
              <a:gd name="connsiteY6" fmla="*/ 398 h 59534"/>
              <a:gd name="connsiteX7" fmla="*/ 5142282 w 11533185"/>
              <a:gd name="connsiteY7" fmla="*/ 318 h 59534"/>
              <a:gd name="connsiteX8" fmla="*/ 5815304 w 11533185"/>
              <a:gd name="connsiteY8" fmla="*/ 246 h 59534"/>
              <a:gd name="connsiteX9" fmla="*/ 6488326 w 11533185"/>
              <a:gd name="connsiteY9" fmla="*/ 174 h 59534"/>
              <a:gd name="connsiteX10" fmla="*/ 7161348 w 11533185"/>
              <a:gd name="connsiteY10" fmla="*/ 101 h 59534"/>
              <a:gd name="connsiteX11" fmla="*/ 8103579 w 11533185"/>
              <a:gd name="connsiteY11" fmla="*/ 0 h 59534"/>
              <a:gd name="connsiteX12" fmla="*/ 8702698 w 11533185"/>
              <a:gd name="connsiteY12" fmla="*/ 126 h 59534"/>
              <a:gd name="connsiteX13" fmla="*/ 9216228 w 11533185"/>
              <a:gd name="connsiteY13" fmla="*/ 235 h 59534"/>
              <a:gd name="connsiteX14" fmla="*/ 9815347 w 11533185"/>
              <a:gd name="connsiteY14" fmla="*/ 361 h 59534"/>
              <a:gd name="connsiteX15" fmla="*/ 10357406 w 11533185"/>
              <a:gd name="connsiteY15" fmla="*/ 476 h 59534"/>
              <a:gd name="connsiteX16" fmla="*/ 10956525 w 11533185"/>
              <a:gd name="connsiteY16" fmla="*/ 602 h 59534"/>
              <a:gd name="connsiteX17" fmla="*/ 11495563 w 11533185"/>
              <a:gd name="connsiteY17" fmla="*/ 302 h 59534"/>
              <a:gd name="connsiteX18" fmla="*/ 11464896 w 11533185"/>
              <a:gd name="connsiteY18" fmla="*/ 6146 h 59534"/>
              <a:gd name="connsiteX19" fmla="*/ 11533185 w 11533185"/>
              <a:gd name="connsiteY19" fmla="*/ 44108 h 59534"/>
              <a:gd name="connsiteX20" fmla="*/ 11495563 w 11533185"/>
              <a:gd name="connsiteY20" fmla="*/ 58759 h 59534"/>
              <a:gd name="connsiteX21" fmla="*/ 10994463 w 11533185"/>
              <a:gd name="connsiteY21" fmla="*/ 58449 h 59534"/>
              <a:gd name="connsiteX22" fmla="*/ 10240388 w 11533185"/>
              <a:gd name="connsiteY22" fmla="*/ 58591 h 59534"/>
              <a:gd name="connsiteX23" fmla="*/ 9601342 w 11533185"/>
              <a:gd name="connsiteY23" fmla="*/ 58712 h 59534"/>
              <a:gd name="connsiteX24" fmla="*/ 9077324 w 11533185"/>
              <a:gd name="connsiteY24" fmla="*/ 58811 h 59534"/>
              <a:gd name="connsiteX25" fmla="*/ 8553306 w 11533185"/>
              <a:gd name="connsiteY25" fmla="*/ 58910 h 59534"/>
              <a:gd name="connsiteX26" fmla="*/ 8029288 w 11533185"/>
              <a:gd name="connsiteY26" fmla="*/ 59008 h 59534"/>
              <a:gd name="connsiteX27" fmla="*/ 7505270 w 11533185"/>
              <a:gd name="connsiteY27" fmla="*/ 59107 h 59534"/>
              <a:gd name="connsiteX28" fmla="*/ 6923738 w 11533185"/>
              <a:gd name="connsiteY28" fmla="*/ 59217 h 59534"/>
              <a:gd name="connsiteX29" fmla="*/ 6399720 w 11533185"/>
              <a:gd name="connsiteY29" fmla="*/ 59316 h 59534"/>
              <a:gd name="connsiteX30" fmla="*/ 5818188 w 11533185"/>
              <a:gd name="connsiteY30" fmla="*/ 59426 h 59534"/>
              <a:gd name="connsiteX31" fmla="*/ 5243046 w 11533185"/>
              <a:gd name="connsiteY31" fmla="*/ 59534 h 59534"/>
              <a:gd name="connsiteX32" fmla="*/ 4712216 w 11533185"/>
              <a:gd name="connsiteY32" fmla="*/ 59375 h 59534"/>
              <a:gd name="connsiteX33" fmla="*/ 4217579 w 11533185"/>
              <a:gd name="connsiteY33" fmla="*/ 59227 h 59534"/>
              <a:gd name="connsiteX34" fmla="*/ 3541977 w 11533185"/>
              <a:gd name="connsiteY34" fmla="*/ 59024 h 59534"/>
              <a:gd name="connsiteX35" fmla="*/ 2866376 w 11533185"/>
              <a:gd name="connsiteY35" fmla="*/ 58822 h 59534"/>
              <a:gd name="connsiteX36" fmla="*/ 2371739 w 11533185"/>
              <a:gd name="connsiteY36" fmla="*/ 58673 h 59534"/>
              <a:gd name="connsiteX37" fmla="*/ 1623751 w 11533185"/>
              <a:gd name="connsiteY37" fmla="*/ 58449 h 59534"/>
              <a:gd name="connsiteX38" fmla="*/ 1089983 w 11533185"/>
              <a:gd name="connsiteY38" fmla="*/ 58552 h 59534"/>
              <a:gd name="connsiteX39" fmla="*/ 588240 w 11533185"/>
              <a:gd name="connsiteY39" fmla="*/ 58649 h 59534"/>
              <a:gd name="connsiteX40" fmla="*/ 22446 w 11533185"/>
              <a:gd name="connsiteY40" fmla="*/ 58759 h 59534"/>
              <a:gd name="connsiteX41" fmla="*/ 0 w 11533185"/>
              <a:gd name="connsiteY41" fmla="*/ 54110 h 59534"/>
              <a:gd name="connsiteX42" fmla="*/ 83463 w 11533185"/>
              <a:gd name="connsiteY42" fmla="*/ 15666 h 59534"/>
              <a:gd name="connsiteX43" fmla="*/ 22446 w 11533185"/>
              <a:gd name="connsiteY43" fmla="*/ 302 h 59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533185" h="59534" fill="none" extrusionOk="0">
                <a:moveTo>
                  <a:pt x="22446" y="302"/>
                </a:moveTo>
                <a:cubicBezTo>
                  <a:pt x="178423" y="29186"/>
                  <a:pt x="372986" y="3629"/>
                  <a:pt x="670884" y="504"/>
                </a:cubicBezTo>
                <a:cubicBezTo>
                  <a:pt x="968782" y="-2621"/>
                  <a:pt x="1157970" y="26872"/>
                  <a:pt x="1373359" y="723"/>
                </a:cubicBezTo>
                <a:cubicBezTo>
                  <a:pt x="1542445" y="-23313"/>
                  <a:pt x="1937375" y="10244"/>
                  <a:pt x="2180985" y="636"/>
                </a:cubicBezTo>
                <a:cubicBezTo>
                  <a:pt x="2424595" y="-8971"/>
                  <a:pt x="2641558" y="19929"/>
                  <a:pt x="2921310" y="557"/>
                </a:cubicBezTo>
                <a:cubicBezTo>
                  <a:pt x="3201062" y="-18815"/>
                  <a:pt x="3349230" y="-36475"/>
                  <a:pt x="3728936" y="470"/>
                </a:cubicBezTo>
                <a:cubicBezTo>
                  <a:pt x="4108642" y="37415"/>
                  <a:pt x="4203460" y="-14654"/>
                  <a:pt x="4401958" y="398"/>
                </a:cubicBezTo>
                <a:cubicBezTo>
                  <a:pt x="4600456" y="15450"/>
                  <a:pt x="4856683" y="16264"/>
                  <a:pt x="5142282" y="318"/>
                </a:cubicBezTo>
                <a:cubicBezTo>
                  <a:pt x="5427881" y="-15628"/>
                  <a:pt x="5547535" y="21572"/>
                  <a:pt x="5815304" y="246"/>
                </a:cubicBezTo>
                <a:cubicBezTo>
                  <a:pt x="6083073" y="-21080"/>
                  <a:pt x="6296169" y="-2728"/>
                  <a:pt x="6488326" y="174"/>
                </a:cubicBezTo>
                <a:cubicBezTo>
                  <a:pt x="6680483" y="3076"/>
                  <a:pt x="6919478" y="-21870"/>
                  <a:pt x="7161348" y="101"/>
                </a:cubicBezTo>
                <a:cubicBezTo>
                  <a:pt x="7403218" y="22072"/>
                  <a:pt x="7879885" y="-10854"/>
                  <a:pt x="8103579" y="0"/>
                </a:cubicBezTo>
                <a:cubicBezTo>
                  <a:pt x="8300313" y="25395"/>
                  <a:pt x="8451373" y="-5077"/>
                  <a:pt x="8702698" y="126"/>
                </a:cubicBezTo>
                <a:cubicBezTo>
                  <a:pt x="8954023" y="5329"/>
                  <a:pt x="9065450" y="3841"/>
                  <a:pt x="9216228" y="235"/>
                </a:cubicBezTo>
                <a:cubicBezTo>
                  <a:pt x="9367006" y="-3371"/>
                  <a:pt x="9676260" y="20597"/>
                  <a:pt x="9815347" y="361"/>
                </a:cubicBezTo>
                <a:cubicBezTo>
                  <a:pt x="9954434" y="-19875"/>
                  <a:pt x="10206994" y="-15211"/>
                  <a:pt x="10357406" y="476"/>
                </a:cubicBezTo>
                <a:cubicBezTo>
                  <a:pt x="10507818" y="16163"/>
                  <a:pt x="10723048" y="-19835"/>
                  <a:pt x="10956525" y="602"/>
                </a:cubicBezTo>
                <a:cubicBezTo>
                  <a:pt x="11187562" y="5949"/>
                  <a:pt x="11342274" y="-11915"/>
                  <a:pt x="11495563" y="302"/>
                </a:cubicBezTo>
                <a:cubicBezTo>
                  <a:pt x="11492970" y="2089"/>
                  <a:pt x="11467895" y="3900"/>
                  <a:pt x="11464896" y="6146"/>
                </a:cubicBezTo>
                <a:cubicBezTo>
                  <a:pt x="11475504" y="18140"/>
                  <a:pt x="11525647" y="29593"/>
                  <a:pt x="11533185" y="44108"/>
                </a:cubicBezTo>
                <a:cubicBezTo>
                  <a:pt x="11518573" y="48736"/>
                  <a:pt x="11505679" y="56670"/>
                  <a:pt x="11495563" y="58759"/>
                </a:cubicBezTo>
                <a:cubicBezTo>
                  <a:pt x="11359823" y="63331"/>
                  <a:pt x="11179247" y="64896"/>
                  <a:pt x="10994463" y="58449"/>
                </a:cubicBezTo>
                <a:cubicBezTo>
                  <a:pt x="10703705" y="76421"/>
                  <a:pt x="10399686" y="72504"/>
                  <a:pt x="10240388" y="58591"/>
                </a:cubicBezTo>
                <a:cubicBezTo>
                  <a:pt x="10081090" y="44678"/>
                  <a:pt x="9755792" y="72325"/>
                  <a:pt x="9601342" y="58712"/>
                </a:cubicBezTo>
                <a:cubicBezTo>
                  <a:pt x="9446892" y="45099"/>
                  <a:pt x="9215632" y="74018"/>
                  <a:pt x="9077324" y="58811"/>
                </a:cubicBezTo>
                <a:cubicBezTo>
                  <a:pt x="8939016" y="43604"/>
                  <a:pt x="8775140" y="48096"/>
                  <a:pt x="8553306" y="58910"/>
                </a:cubicBezTo>
                <a:cubicBezTo>
                  <a:pt x="8331472" y="69724"/>
                  <a:pt x="8210417" y="34652"/>
                  <a:pt x="8029288" y="59008"/>
                </a:cubicBezTo>
                <a:cubicBezTo>
                  <a:pt x="7848159" y="83364"/>
                  <a:pt x="7694690" y="62040"/>
                  <a:pt x="7505270" y="59107"/>
                </a:cubicBezTo>
                <a:cubicBezTo>
                  <a:pt x="7315850" y="56175"/>
                  <a:pt x="7078402" y="47599"/>
                  <a:pt x="6923738" y="59217"/>
                </a:cubicBezTo>
                <a:cubicBezTo>
                  <a:pt x="6769074" y="70835"/>
                  <a:pt x="6615515" y="84559"/>
                  <a:pt x="6399720" y="59316"/>
                </a:cubicBezTo>
                <a:cubicBezTo>
                  <a:pt x="6183925" y="34073"/>
                  <a:pt x="5945677" y="75647"/>
                  <a:pt x="5818188" y="59426"/>
                </a:cubicBezTo>
                <a:cubicBezTo>
                  <a:pt x="5690699" y="43204"/>
                  <a:pt x="5454944" y="54922"/>
                  <a:pt x="5243046" y="59534"/>
                </a:cubicBezTo>
                <a:cubicBezTo>
                  <a:pt x="4979127" y="73040"/>
                  <a:pt x="4823967" y="63215"/>
                  <a:pt x="4712216" y="59375"/>
                </a:cubicBezTo>
                <a:cubicBezTo>
                  <a:pt x="4600465" y="55535"/>
                  <a:pt x="4379465" y="62391"/>
                  <a:pt x="4217579" y="59227"/>
                </a:cubicBezTo>
                <a:cubicBezTo>
                  <a:pt x="4055693" y="56063"/>
                  <a:pt x="3706274" y="26136"/>
                  <a:pt x="3541977" y="59024"/>
                </a:cubicBezTo>
                <a:cubicBezTo>
                  <a:pt x="3377680" y="91912"/>
                  <a:pt x="3054464" y="41524"/>
                  <a:pt x="2866376" y="58822"/>
                </a:cubicBezTo>
                <a:cubicBezTo>
                  <a:pt x="2678288" y="76120"/>
                  <a:pt x="2546120" y="44460"/>
                  <a:pt x="2371739" y="58673"/>
                </a:cubicBezTo>
                <a:cubicBezTo>
                  <a:pt x="2197358" y="72887"/>
                  <a:pt x="1785232" y="31398"/>
                  <a:pt x="1623751" y="58449"/>
                </a:cubicBezTo>
                <a:cubicBezTo>
                  <a:pt x="1495971" y="35902"/>
                  <a:pt x="1293699" y="68354"/>
                  <a:pt x="1089983" y="58552"/>
                </a:cubicBezTo>
                <a:cubicBezTo>
                  <a:pt x="886267" y="48750"/>
                  <a:pt x="788522" y="43731"/>
                  <a:pt x="588240" y="58649"/>
                </a:cubicBezTo>
                <a:cubicBezTo>
                  <a:pt x="387958" y="73567"/>
                  <a:pt x="186875" y="49615"/>
                  <a:pt x="22446" y="58759"/>
                </a:cubicBezTo>
                <a:cubicBezTo>
                  <a:pt x="20058" y="57633"/>
                  <a:pt x="2328" y="55377"/>
                  <a:pt x="0" y="54110"/>
                </a:cubicBezTo>
                <a:cubicBezTo>
                  <a:pt x="5507" y="43499"/>
                  <a:pt x="80431" y="27724"/>
                  <a:pt x="83463" y="15666"/>
                </a:cubicBezTo>
                <a:cubicBezTo>
                  <a:pt x="54873" y="5329"/>
                  <a:pt x="49584" y="10130"/>
                  <a:pt x="22446" y="302"/>
                </a:cubicBezTo>
                <a:close/>
              </a:path>
              <a:path w="11533185" h="59534" stroke="0" extrusionOk="0">
                <a:moveTo>
                  <a:pt x="22446" y="302"/>
                </a:moveTo>
                <a:cubicBezTo>
                  <a:pt x="193243" y="-19420"/>
                  <a:pt x="429377" y="-11364"/>
                  <a:pt x="684393" y="508"/>
                </a:cubicBezTo>
                <a:cubicBezTo>
                  <a:pt x="939409" y="12381"/>
                  <a:pt x="1078543" y="-27498"/>
                  <a:pt x="1373359" y="723"/>
                </a:cubicBezTo>
                <a:cubicBezTo>
                  <a:pt x="1711924" y="-15947"/>
                  <a:pt x="1903171" y="7300"/>
                  <a:pt x="2180985" y="636"/>
                </a:cubicBezTo>
                <a:cubicBezTo>
                  <a:pt x="2458799" y="-6027"/>
                  <a:pt x="2657431" y="33563"/>
                  <a:pt x="2854007" y="564"/>
                </a:cubicBezTo>
                <a:cubicBezTo>
                  <a:pt x="3050583" y="-32435"/>
                  <a:pt x="3140944" y="-26285"/>
                  <a:pt x="3392425" y="506"/>
                </a:cubicBezTo>
                <a:cubicBezTo>
                  <a:pt x="3643906" y="27297"/>
                  <a:pt x="3705340" y="21334"/>
                  <a:pt x="3930843" y="448"/>
                </a:cubicBezTo>
                <a:cubicBezTo>
                  <a:pt x="4156346" y="-20438"/>
                  <a:pt x="4383733" y="-22550"/>
                  <a:pt x="4603865" y="376"/>
                </a:cubicBezTo>
                <a:cubicBezTo>
                  <a:pt x="4823997" y="23302"/>
                  <a:pt x="5016699" y="23417"/>
                  <a:pt x="5276887" y="304"/>
                </a:cubicBezTo>
                <a:cubicBezTo>
                  <a:pt x="5537075" y="-22809"/>
                  <a:pt x="5655289" y="-12557"/>
                  <a:pt x="5815304" y="246"/>
                </a:cubicBezTo>
                <a:cubicBezTo>
                  <a:pt x="5975319" y="13049"/>
                  <a:pt x="6092753" y="-20460"/>
                  <a:pt x="6353722" y="188"/>
                </a:cubicBezTo>
                <a:cubicBezTo>
                  <a:pt x="6614691" y="20836"/>
                  <a:pt x="6852175" y="-7239"/>
                  <a:pt x="7026744" y="116"/>
                </a:cubicBezTo>
                <a:cubicBezTo>
                  <a:pt x="7201313" y="7471"/>
                  <a:pt x="7868972" y="-48103"/>
                  <a:pt x="8103579" y="0"/>
                </a:cubicBezTo>
                <a:cubicBezTo>
                  <a:pt x="8298671" y="-435"/>
                  <a:pt x="8469697" y="4052"/>
                  <a:pt x="8588580" y="102"/>
                </a:cubicBezTo>
                <a:cubicBezTo>
                  <a:pt x="8707463" y="-3848"/>
                  <a:pt x="8969566" y="-5549"/>
                  <a:pt x="9216228" y="235"/>
                </a:cubicBezTo>
                <a:cubicBezTo>
                  <a:pt x="9462890" y="6019"/>
                  <a:pt x="9598774" y="15096"/>
                  <a:pt x="9729758" y="343"/>
                </a:cubicBezTo>
                <a:cubicBezTo>
                  <a:pt x="9860742" y="-14410"/>
                  <a:pt x="10044987" y="14905"/>
                  <a:pt x="10300347" y="464"/>
                </a:cubicBezTo>
                <a:cubicBezTo>
                  <a:pt x="10555707" y="-13978"/>
                  <a:pt x="10812371" y="-10320"/>
                  <a:pt x="10956525" y="602"/>
                </a:cubicBezTo>
                <a:cubicBezTo>
                  <a:pt x="11125983" y="-24705"/>
                  <a:pt x="11342664" y="25643"/>
                  <a:pt x="11495563" y="302"/>
                </a:cubicBezTo>
                <a:cubicBezTo>
                  <a:pt x="11493358" y="2489"/>
                  <a:pt x="11467520" y="4538"/>
                  <a:pt x="11464896" y="6146"/>
                </a:cubicBezTo>
                <a:cubicBezTo>
                  <a:pt x="11475863" y="17974"/>
                  <a:pt x="11522397" y="32840"/>
                  <a:pt x="11533185" y="44108"/>
                </a:cubicBezTo>
                <a:cubicBezTo>
                  <a:pt x="11522417" y="47339"/>
                  <a:pt x="11509396" y="52547"/>
                  <a:pt x="11495563" y="58759"/>
                </a:cubicBezTo>
                <a:cubicBezTo>
                  <a:pt x="11272798" y="64726"/>
                  <a:pt x="11113100" y="48033"/>
                  <a:pt x="10994463" y="58449"/>
                </a:cubicBezTo>
                <a:cubicBezTo>
                  <a:pt x="10859449" y="46734"/>
                  <a:pt x="10743382" y="41228"/>
                  <a:pt x="10527959" y="58537"/>
                </a:cubicBezTo>
                <a:cubicBezTo>
                  <a:pt x="10312536" y="75846"/>
                  <a:pt x="10093950" y="84302"/>
                  <a:pt x="9773885" y="58679"/>
                </a:cubicBezTo>
                <a:cubicBezTo>
                  <a:pt x="9453820" y="33056"/>
                  <a:pt x="9359246" y="81811"/>
                  <a:pt x="9077324" y="58811"/>
                </a:cubicBezTo>
                <a:cubicBezTo>
                  <a:pt x="8795402" y="35810"/>
                  <a:pt x="8833257" y="55990"/>
                  <a:pt x="8610820" y="58899"/>
                </a:cubicBezTo>
                <a:cubicBezTo>
                  <a:pt x="8388383" y="61808"/>
                  <a:pt x="8186671" y="52981"/>
                  <a:pt x="8029288" y="59008"/>
                </a:cubicBezTo>
                <a:cubicBezTo>
                  <a:pt x="7871905" y="65036"/>
                  <a:pt x="7631653" y="93965"/>
                  <a:pt x="7275213" y="59151"/>
                </a:cubicBezTo>
                <a:cubicBezTo>
                  <a:pt x="6918773" y="24336"/>
                  <a:pt x="6871757" y="40593"/>
                  <a:pt x="6636167" y="59271"/>
                </a:cubicBezTo>
                <a:cubicBezTo>
                  <a:pt x="6400577" y="77949"/>
                  <a:pt x="6107927" y="34908"/>
                  <a:pt x="5939607" y="59403"/>
                </a:cubicBezTo>
                <a:cubicBezTo>
                  <a:pt x="5771287" y="83898"/>
                  <a:pt x="5528395" y="48930"/>
                  <a:pt x="5243046" y="59534"/>
                </a:cubicBezTo>
                <a:cubicBezTo>
                  <a:pt x="4983260" y="65442"/>
                  <a:pt x="4938723" y="32811"/>
                  <a:pt x="4639830" y="59353"/>
                </a:cubicBezTo>
                <a:cubicBezTo>
                  <a:pt x="4340937" y="85895"/>
                  <a:pt x="4300341" y="49097"/>
                  <a:pt x="4000421" y="59161"/>
                </a:cubicBezTo>
                <a:cubicBezTo>
                  <a:pt x="3700501" y="69225"/>
                  <a:pt x="3670151" y="38440"/>
                  <a:pt x="3469591" y="59002"/>
                </a:cubicBezTo>
                <a:cubicBezTo>
                  <a:pt x="3269031" y="79564"/>
                  <a:pt x="3185516" y="79484"/>
                  <a:pt x="2974954" y="58854"/>
                </a:cubicBezTo>
                <a:cubicBezTo>
                  <a:pt x="2764392" y="38224"/>
                  <a:pt x="2685289" y="44722"/>
                  <a:pt x="2444125" y="58695"/>
                </a:cubicBezTo>
                <a:cubicBezTo>
                  <a:pt x="2202961" y="72668"/>
                  <a:pt x="1829082" y="28612"/>
                  <a:pt x="1623751" y="58449"/>
                </a:cubicBezTo>
                <a:cubicBezTo>
                  <a:pt x="1479914" y="37104"/>
                  <a:pt x="1281553" y="84526"/>
                  <a:pt x="1089983" y="58552"/>
                </a:cubicBezTo>
                <a:cubicBezTo>
                  <a:pt x="898413" y="32578"/>
                  <a:pt x="697743" y="75975"/>
                  <a:pt x="556214" y="58656"/>
                </a:cubicBezTo>
                <a:cubicBezTo>
                  <a:pt x="414685" y="41337"/>
                  <a:pt x="225734" y="63545"/>
                  <a:pt x="22446" y="58759"/>
                </a:cubicBezTo>
                <a:cubicBezTo>
                  <a:pt x="19644" y="57747"/>
                  <a:pt x="2449" y="55696"/>
                  <a:pt x="0" y="54110"/>
                </a:cubicBezTo>
                <a:cubicBezTo>
                  <a:pt x="4431" y="41261"/>
                  <a:pt x="78766" y="27407"/>
                  <a:pt x="83463" y="15666"/>
                </a:cubicBezTo>
                <a:cubicBezTo>
                  <a:pt x="65265" y="12976"/>
                  <a:pt x="46608" y="4108"/>
                  <a:pt x="22446" y="302"/>
                </a:cubicBezTo>
                <a:close/>
              </a:path>
            </a:pathLst>
          </a:cu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22542 w 11582400"/>
                      <a:gd name="connsiteY0" fmla="*/ 19137 h 3764281"/>
                      <a:gd name="connsiteX1" fmla="*/ 1379220 w 11582400"/>
                      <a:gd name="connsiteY1" fmla="*/ 45720 h 3764281"/>
                      <a:gd name="connsiteX2" fmla="*/ 8138160 w 11582400"/>
                      <a:gd name="connsiteY2" fmla="*/ 0 h 3764281"/>
                      <a:gd name="connsiteX3" fmla="*/ 11003280 w 11582400"/>
                      <a:gd name="connsiteY3" fmla="*/ 38101 h 3764281"/>
                      <a:gd name="connsiteX4" fmla="*/ 11544618 w 11582400"/>
                      <a:gd name="connsiteY4" fmla="*/ 19137 h 3764281"/>
                      <a:gd name="connsiteX5" fmla="*/ 11513820 w 11582400"/>
                      <a:gd name="connsiteY5" fmla="*/ 388621 h 3764281"/>
                      <a:gd name="connsiteX6" fmla="*/ 11582400 w 11582400"/>
                      <a:gd name="connsiteY6" fmla="*/ 2788921 h 3764281"/>
                      <a:gd name="connsiteX7" fmla="*/ 11544618 w 11582400"/>
                      <a:gd name="connsiteY7" fmla="*/ 3715337 h 3764281"/>
                      <a:gd name="connsiteX8" fmla="*/ 11041380 w 11582400"/>
                      <a:gd name="connsiteY8" fmla="*/ 3695701 h 3764281"/>
                      <a:gd name="connsiteX9" fmla="*/ 5265420 w 11582400"/>
                      <a:gd name="connsiteY9" fmla="*/ 3764281 h 3764281"/>
                      <a:gd name="connsiteX10" fmla="*/ 1630680 w 11582400"/>
                      <a:gd name="connsiteY10" fmla="*/ 3695701 h 3764281"/>
                      <a:gd name="connsiteX11" fmla="*/ 22542 w 11582400"/>
                      <a:gd name="connsiteY11" fmla="*/ 3715337 h 3764281"/>
                      <a:gd name="connsiteX12" fmla="*/ 0 w 11582400"/>
                      <a:gd name="connsiteY12" fmla="*/ 3421381 h 3764281"/>
                      <a:gd name="connsiteX13" fmla="*/ 83820 w 11582400"/>
                      <a:gd name="connsiteY13" fmla="*/ 990601 h 3764281"/>
                      <a:gd name="connsiteX14" fmla="*/ 22542 w 11582400"/>
                      <a:gd name="connsiteY14" fmla="*/ 19137 h 37642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11582400" h="3764281">
                        <a:moveTo>
                          <a:pt x="22542" y="19137"/>
                        </a:moveTo>
                        <a:cubicBezTo>
                          <a:pt x="462068" y="20378"/>
                          <a:pt x="939694" y="44479"/>
                          <a:pt x="1379220" y="45720"/>
                        </a:cubicBezTo>
                        <a:lnTo>
                          <a:pt x="8138160" y="0"/>
                        </a:lnTo>
                        <a:cubicBezTo>
                          <a:pt x="9088120" y="0"/>
                          <a:pt x="10053320" y="38101"/>
                          <a:pt x="11003280" y="38101"/>
                        </a:cubicBezTo>
                        <a:lnTo>
                          <a:pt x="11544618" y="19137"/>
                        </a:lnTo>
                        <a:cubicBezTo>
                          <a:pt x="11541972" y="137218"/>
                          <a:pt x="11516466" y="270540"/>
                          <a:pt x="11513820" y="388621"/>
                        </a:cubicBezTo>
                        <a:cubicBezTo>
                          <a:pt x="11523980" y="1168401"/>
                          <a:pt x="11572240" y="2009141"/>
                          <a:pt x="11582400" y="2788921"/>
                        </a:cubicBezTo>
                        <a:lnTo>
                          <a:pt x="11544618" y="3715337"/>
                        </a:lnTo>
                        <a:cubicBezTo>
                          <a:pt x="11384492" y="3713872"/>
                          <a:pt x="11201506" y="3697166"/>
                          <a:pt x="11041380" y="3695701"/>
                        </a:cubicBezTo>
                        <a:lnTo>
                          <a:pt x="5265420" y="3764281"/>
                        </a:lnTo>
                        <a:lnTo>
                          <a:pt x="1630680" y="3695701"/>
                        </a:lnTo>
                        <a:lnTo>
                          <a:pt x="22542" y="3715337"/>
                        </a:lnTo>
                        <a:cubicBezTo>
                          <a:pt x="20108" y="3640212"/>
                          <a:pt x="2434" y="3496506"/>
                          <a:pt x="0" y="3421381"/>
                        </a:cubicBezTo>
                        <a:cubicBezTo>
                          <a:pt x="5080" y="2654301"/>
                          <a:pt x="78740" y="1757681"/>
                          <a:pt x="83820" y="990601"/>
                        </a:cubicBezTo>
                        <a:lnTo>
                          <a:pt x="22542" y="19137"/>
                        </a:lnTo>
                        <a:close/>
                      </a:path>
                    </a:pathLst>
                  </a:custGeom>
                  <ask:type>
                    <ask:lineSketchFreehand/>
                  </ask:type>
                </ask:lineSketchStyleProps>
              </a:ext>
            </a:extLst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0" rtlCol="0" anchor="t" anchorCtr="0"/>
          <a:lstStyle/>
          <a:p>
            <a:pPr marL="177800" marR="0" lvl="0" indent="-17780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9539D9E1-9A10-E9E3-ECDE-F9B887436297}"/>
              </a:ext>
            </a:extLst>
          </p:cNvPr>
          <p:cNvGrpSpPr/>
          <p:nvPr/>
        </p:nvGrpSpPr>
        <p:grpSpPr>
          <a:xfrm flipH="1">
            <a:off x="2011935" y="873863"/>
            <a:ext cx="574595" cy="825372"/>
            <a:chOff x="3317838" y="4051723"/>
            <a:chExt cx="1055160" cy="1515674"/>
          </a:xfrm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F11A0D0-697A-E84F-4445-18468750139A}"/>
                </a:ext>
              </a:extLst>
            </p:cNvPr>
            <p:cNvSpPr/>
            <p:nvPr/>
          </p:nvSpPr>
          <p:spPr>
            <a:xfrm>
              <a:off x="3598868" y="4051723"/>
              <a:ext cx="774077" cy="446845"/>
            </a:xfrm>
            <a:custGeom>
              <a:avLst/>
              <a:gdLst>
                <a:gd name="connsiteX0" fmla="*/ 293855 w 774077"/>
                <a:gd name="connsiteY0" fmla="*/ 32622 h 446845"/>
                <a:gd name="connsiteX1" fmla="*/ 15540 w 774077"/>
                <a:gd name="connsiteY1" fmla="*/ 423677 h 446845"/>
                <a:gd name="connsiteX2" fmla="*/ 34304 w 774077"/>
                <a:gd name="connsiteY2" fmla="*/ 446005 h 446845"/>
                <a:gd name="connsiteX3" fmla="*/ 621437 w 774077"/>
                <a:gd name="connsiteY3" fmla="*/ 339134 h 446845"/>
                <a:gd name="connsiteX4" fmla="*/ 674270 w 774077"/>
                <a:gd name="connsiteY4" fmla="*/ 258103 h 446845"/>
                <a:gd name="connsiteX5" fmla="*/ 771706 w 774077"/>
                <a:gd name="connsiteY5" fmla="*/ 34980 h 446845"/>
                <a:gd name="connsiteX6" fmla="*/ 729409 w 774077"/>
                <a:gd name="connsiteY6" fmla="*/ 2117 h 446845"/>
                <a:gd name="connsiteX7" fmla="*/ 360682 w 774077"/>
                <a:gd name="connsiteY7" fmla="*/ 9140 h 446845"/>
                <a:gd name="connsiteX8" fmla="*/ 293750 w 774077"/>
                <a:gd name="connsiteY8" fmla="*/ 32622 h 446845"/>
                <a:gd name="connsiteX9" fmla="*/ 293750 w 774077"/>
                <a:gd name="connsiteY9" fmla="*/ 32622 h 44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74077" h="446845">
                  <a:moveTo>
                    <a:pt x="293855" y="32622"/>
                  </a:moveTo>
                  <a:cubicBezTo>
                    <a:pt x="251557" y="88966"/>
                    <a:pt x="60196" y="380226"/>
                    <a:pt x="15540" y="423677"/>
                  </a:cubicBezTo>
                  <a:cubicBezTo>
                    <a:pt x="-11452" y="447158"/>
                    <a:pt x="-2070" y="448363"/>
                    <a:pt x="34304" y="446005"/>
                  </a:cubicBezTo>
                  <a:cubicBezTo>
                    <a:pt x="69526" y="442493"/>
                    <a:pt x="580293" y="357951"/>
                    <a:pt x="621437" y="339134"/>
                  </a:cubicBezTo>
                  <a:cubicBezTo>
                    <a:pt x="661376" y="320370"/>
                    <a:pt x="654301" y="315653"/>
                    <a:pt x="674270" y="258103"/>
                  </a:cubicBezTo>
                  <a:cubicBezTo>
                    <a:pt x="694240" y="199400"/>
                    <a:pt x="765836" y="57256"/>
                    <a:pt x="771706" y="34980"/>
                  </a:cubicBezTo>
                  <a:cubicBezTo>
                    <a:pt x="778730" y="5629"/>
                    <a:pt x="771706" y="-4959"/>
                    <a:pt x="729409" y="2117"/>
                  </a:cubicBezTo>
                  <a:cubicBezTo>
                    <a:pt x="693034" y="9140"/>
                    <a:pt x="414720" y="6834"/>
                    <a:pt x="360682" y="9140"/>
                  </a:cubicBezTo>
                  <a:cubicBezTo>
                    <a:pt x="307849" y="10294"/>
                    <a:pt x="307849" y="13858"/>
                    <a:pt x="293750" y="32622"/>
                  </a:cubicBezTo>
                  <a:lnTo>
                    <a:pt x="293750" y="32622"/>
                  </a:lnTo>
                  <a:close/>
                </a:path>
              </a:pathLst>
            </a:custGeom>
            <a:solidFill>
              <a:srgbClr val="FAA44D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24" name="Freeform: Shape 1023">
              <a:extLst>
                <a:ext uri="{FF2B5EF4-FFF2-40B4-BE49-F238E27FC236}">
                  <a16:creationId xmlns:a16="http://schemas.microsoft.com/office/drawing/2014/main" id="{56B60256-37F8-F201-2B1D-9B07E7945EB6}"/>
                </a:ext>
              </a:extLst>
            </p:cNvPr>
            <p:cNvSpPr/>
            <p:nvPr/>
          </p:nvSpPr>
          <p:spPr>
            <a:xfrm>
              <a:off x="4068832" y="4051723"/>
              <a:ext cx="304166" cy="326240"/>
            </a:xfrm>
            <a:custGeom>
              <a:avLst/>
              <a:gdLst>
                <a:gd name="connsiteX0" fmla="*/ 301795 w 304166"/>
                <a:gd name="connsiteY0" fmla="*/ 34980 h 326240"/>
                <a:gd name="connsiteX1" fmla="*/ 259498 w 304166"/>
                <a:gd name="connsiteY1" fmla="*/ 2117 h 326240"/>
                <a:gd name="connsiteX2" fmla="*/ 246604 w 304166"/>
                <a:gd name="connsiteY2" fmla="*/ 4476 h 326240"/>
                <a:gd name="connsiteX3" fmla="*/ 0 w 304166"/>
                <a:gd name="connsiteY3" fmla="*/ 164179 h 326240"/>
                <a:gd name="connsiteX4" fmla="*/ 8229 w 304166"/>
                <a:gd name="connsiteY4" fmla="*/ 224087 h 326240"/>
                <a:gd name="connsiteX5" fmla="*/ 174955 w 304166"/>
                <a:gd name="connsiteY5" fmla="*/ 326241 h 326240"/>
                <a:gd name="connsiteX6" fmla="*/ 204307 w 304166"/>
                <a:gd name="connsiteY6" fmla="*/ 258103 h 326240"/>
                <a:gd name="connsiteX7" fmla="*/ 301743 w 304166"/>
                <a:gd name="connsiteY7" fmla="*/ 34980 h 326240"/>
                <a:gd name="connsiteX8" fmla="*/ 301743 w 304166"/>
                <a:gd name="connsiteY8" fmla="*/ 34980 h 32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4166" h="326240">
                  <a:moveTo>
                    <a:pt x="301795" y="34980"/>
                  </a:moveTo>
                  <a:cubicBezTo>
                    <a:pt x="308819" y="5629"/>
                    <a:pt x="301795" y="-4959"/>
                    <a:pt x="259498" y="2117"/>
                  </a:cubicBezTo>
                  <a:cubicBezTo>
                    <a:pt x="255986" y="3270"/>
                    <a:pt x="252475" y="3270"/>
                    <a:pt x="246604" y="4476"/>
                  </a:cubicBezTo>
                  <a:cubicBezTo>
                    <a:pt x="150321" y="65537"/>
                    <a:pt x="0" y="164179"/>
                    <a:pt x="0" y="164179"/>
                  </a:cubicBezTo>
                  <a:lnTo>
                    <a:pt x="8229" y="224087"/>
                  </a:lnTo>
                  <a:cubicBezTo>
                    <a:pt x="30557" y="245210"/>
                    <a:pt x="137375" y="306271"/>
                    <a:pt x="174955" y="326241"/>
                  </a:cubicBezTo>
                  <a:cubicBezTo>
                    <a:pt x="190208" y="314500"/>
                    <a:pt x="189055" y="300401"/>
                    <a:pt x="204307" y="258103"/>
                  </a:cubicBezTo>
                  <a:cubicBezTo>
                    <a:pt x="224276" y="199400"/>
                    <a:pt x="295873" y="57256"/>
                    <a:pt x="301743" y="34980"/>
                  </a:cubicBezTo>
                  <a:lnTo>
                    <a:pt x="301743" y="34980"/>
                  </a:lnTo>
                  <a:close/>
                </a:path>
              </a:pathLst>
            </a:custGeom>
            <a:solidFill>
              <a:srgbClr val="DCDE57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25" name="Freeform: Shape 1024">
              <a:extLst>
                <a:ext uri="{FF2B5EF4-FFF2-40B4-BE49-F238E27FC236}">
                  <a16:creationId xmlns:a16="http://schemas.microsoft.com/office/drawing/2014/main" id="{2A083B6F-14BE-6D69-139F-DC8721F44DD3}"/>
                </a:ext>
              </a:extLst>
            </p:cNvPr>
            <p:cNvSpPr/>
            <p:nvPr/>
          </p:nvSpPr>
          <p:spPr>
            <a:xfrm>
              <a:off x="3909181" y="4051881"/>
              <a:ext cx="460293" cy="228542"/>
            </a:xfrm>
            <a:custGeom>
              <a:avLst/>
              <a:gdLst>
                <a:gd name="connsiteX0" fmla="*/ 460293 w 460293"/>
                <a:gd name="connsiteY0" fmla="*/ 6625 h 228542"/>
                <a:gd name="connsiteX1" fmla="*/ 419201 w 460293"/>
                <a:gd name="connsiteY1" fmla="*/ 1907 h 228542"/>
                <a:gd name="connsiteX2" fmla="*/ 50474 w 460293"/>
                <a:gd name="connsiteY2" fmla="*/ 8931 h 228542"/>
                <a:gd name="connsiteX3" fmla="*/ 0 w 460293"/>
                <a:gd name="connsiteY3" fmla="*/ 14801 h 228542"/>
                <a:gd name="connsiteX4" fmla="*/ 171444 w 460293"/>
                <a:gd name="connsiteY4" fmla="*/ 228542 h 228542"/>
                <a:gd name="connsiteX5" fmla="*/ 460293 w 460293"/>
                <a:gd name="connsiteY5" fmla="*/ 6572 h 228542"/>
                <a:gd name="connsiteX6" fmla="*/ 460293 w 460293"/>
                <a:gd name="connsiteY6" fmla="*/ 6572 h 22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0293" h="228542">
                  <a:moveTo>
                    <a:pt x="460293" y="6625"/>
                  </a:moveTo>
                  <a:cubicBezTo>
                    <a:pt x="454423" y="-399"/>
                    <a:pt x="441529" y="-1604"/>
                    <a:pt x="419201" y="1907"/>
                  </a:cubicBezTo>
                  <a:cubicBezTo>
                    <a:pt x="382826" y="8931"/>
                    <a:pt x="104512" y="6625"/>
                    <a:pt x="50474" y="8931"/>
                  </a:cubicBezTo>
                  <a:cubicBezTo>
                    <a:pt x="22276" y="8931"/>
                    <a:pt x="9382" y="11289"/>
                    <a:pt x="0" y="14801"/>
                  </a:cubicBezTo>
                  <a:cubicBezTo>
                    <a:pt x="16458" y="61763"/>
                    <a:pt x="82184" y="179221"/>
                    <a:pt x="171444" y="228542"/>
                  </a:cubicBezTo>
                  <a:cubicBezTo>
                    <a:pt x="251269" y="179221"/>
                    <a:pt x="394567" y="81733"/>
                    <a:pt x="460293" y="6572"/>
                  </a:cubicBezTo>
                  <a:lnTo>
                    <a:pt x="460293" y="6572"/>
                  </a:lnTo>
                  <a:close/>
                </a:path>
              </a:pathLst>
            </a:custGeom>
            <a:solidFill>
              <a:srgbClr val="7DC6E3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27" name="Freeform: Shape 1026">
              <a:extLst>
                <a:ext uri="{FF2B5EF4-FFF2-40B4-BE49-F238E27FC236}">
                  <a16:creationId xmlns:a16="http://schemas.microsoft.com/office/drawing/2014/main" id="{DB111858-41E1-4774-394A-2513CDB76C7F}"/>
                </a:ext>
              </a:extLst>
            </p:cNvPr>
            <p:cNvSpPr/>
            <p:nvPr/>
          </p:nvSpPr>
          <p:spPr>
            <a:xfrm>
              <a:off x="3599156" y="4066734"/>
              <a:ext cx="482621" cy="427429"/>
            </a:xfrm>
            <a:custGeom>
              <a:avLst/>
              <a:gdLst>
                <a:gd name="connsiteX0" fmla="*/ 311177 w 482621"/>
                <a:gd name="connsiteY0" fmla="*/ 0 h 427429"/>
                <a:gd name="connsiteX1" fmla="*/ 293567 w 482621"/>
                <a:gd name="connsiteY1" fmla="*/ 17611 h 427429"/>
                <a:gd name="connsiteX2" fmla="*/ 15252 w 482621"/>
                <a:gd name="connsiteY2" fmla="*/ 408666 h 427429"/>
                <a:gd name="connsiteX3" fmla="*/ 0 w 482621"/>
                <a:gd name="connsiteY3" fmla="*/ 427430 h 427429"/>
                <a:gd name="connsiteX4" fmla="*/ 482621 w 482621"/>
                <a:gd name="connsiteY4" fmla="*/ 213689 h 427429"/>
                <a:gd name="connsiteX5" fmla="*/ 311177 w 482621"/>
                <a:gd name="connsiteY5" fmla="*/ 0 h 427429"/>
                <a:gd name="connsiteX6" fmla="*/ 311177 w 482621"/>
                <a:gd name="connsiteY6" fmla="*/ 0 h 42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2621" h="427429">
                  <a:moveTo>
                    <a:pt x="311177" y="0"/>
                  </a:moveTo>
                  <a:cubicBezTo>
                    <a:pt x="304154" y="3512"/>
                    <a:pt x="300590" y="8229"/>
                    <a:pt x="293567" y="17611"/>
                  </a:cubicBezTo>
                  <a:cubicBezTo>
                    <a:pt x="251269" y="73955"/>
                    <a:pt x="59908" y="365215"/>
                    <a:pt x="15252" y="408666"/>
                  </a:cubicBezTo>
                  <a:cubicBezTo>
                    <a:pt x="4665" y="418048"/>
                    <a:pt x="0" y="423918"/>
                    <a:pt x="0" y="427430"/>
                  </a:cubicBezTo>
                  <a:cubicBezTo>
                    <a:pt x="111535" y="398078"/>
                    <a:pt x="304102" y="312330"/>
                    <a:pt x="482621" y="213689"/>
                  </a:cubicBezTo>
                  <a:cubicBezTo>
                    <a:pt x="394567" y="152627"/>
                    <a:pt x="331147" y="45757"/>
                    <a:pt x="311177" y="0"/>
                  </a:cubicBezTo>
                  <a:lnTo>
                    <a:pt x="311177" y="0"/>
                  </a:lnTo>
                  <a:close/>
                </a:path>
              </a:pathLst>
            </a:custGeom>
            <a:solidFill>
              <a:srgbClr val="FBD97A"/>
            </a:solidFill>
            <a:ln w="52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29" name="Freeform: Shape 1028">
              <a:extLst>
                <a:ext uri="{FF2B5EF4-FFF2-40B4-BE49-F238E27FC236}">
                  <a16:creationId xmlns:a16="http://schemas.microsoft.com/office/drawing/2014/main" id="{2E88437F-F8CB-55D6-ABAD-9A3052E3BB8C}"/>
                </a:ext>
              </a:extLst>
            </p:cNvPr>
            <p:cNvSpPr/>
            <p:nvPr/>
          </p:nvSpPr>
          <p:spPr>
            <a:xfrm>
              <a:off x="3317838" y="4281314"/>
              <a:ext cx="829695" cy="1286083"/>
            </a:xfrm>
            <a:custGeom>
              <a:avLst/>
              <a:gdLst>
                <a:gd name="connsiteX0" fmla="*/ 261555 w 261555"/>
                <a:gd name="connsiteY0" fmla="*/ 1050413 h 1050413"/>
                <a:gd name="connsiteX1" fmla="*/ 205945 w 261555"/>
                <a:gd name="connsiteY1" fmla="*/ 773986 h 1050413"/>
                <a:gd name="connsiteX2" fmla="*/ 151068 w 261555"/>
                <a:gd name="connsiteY2" fmla="*/ 691540 h 1050413"/>
                <a:gd name="connsiteX3" fmla="*/ 33138 w 261555"/>
                <a:gd name="connsiteY3" fmla="*/ 520987 h 1050413"/>
                <a:gd name="connsiteX4" fmla="*/ 32981 w 261555"/>
                <a:gd name="connsiteY4" fmla="*/ 216624 h 1050413"/>
                <a:gd name="connsiteX5" fmla="*/ 72658 w 261555"/>
                <a:gd name="connsiteY5" fmla="*/ 109701 h 1050413"/>
                <a:gd name="connsiteX6" fmla="*/ 17414 w 261555"/>
                <a:gd name="connsiteY6" fmla="*/ 0 h 1050413"/>
                <a:gd name="connsiteX0" fmla="*/ 26 w 1011200"/>
                <a:gd name="connsiteY0" fmla="*/ 1286083 h 1286083"/>
                <a:gd name="connsiteX1" fmla="*/ 953084 w 1011200"/>
                <a:gd name="connsiteY1" fmla="*/ 773986 h 1286083"/>
                <a:gd name="connsiteX2" fmla="*/ 898207 w 1011200"/>
                <a:gd name="connsiteY2" fmla="*/ 691540 h 1286083"/>
                <a:gd name="connsiteX3" fmla="*/ 780277 w 1011200"/>
                <a:gd name="connsiteY3" fmla="*/ 520987 h 1286083"/>
                <a:gd name="connsiteX4" fmla="*/ 780120 w 1011200"/>
                <a:gd name="connsiteY4" fmla="*/ 216624 h 1286083"/>
                <a:gd name="connsiteX5" fmla="*/ 819797 w 1011200"/>
                <a:gd name="connsiteY5" fmla="*/ 109701 h 1286083"/>
                <a:gd name="connsiteX6" fmla="*/ 764553 w 1011200"/>
                <a:gd name="connsiteY6" fmla="*/ 0 h 1286083"/>
                <a:gd name="connsiteX0" fmla="*/ 640 w 928407"/>
                <a:gd name="connsiteY0" fmla="*/ 1286083 h 1286083"/>
                <a:gd name="connsiteX1" fmla="*/ 171273 w 928407"/>
                <a:gd name="connsiteY1" fmla="*/ 1019083 h 1286083"/>
                <a:gd name="connsiteX2" fmla="*/ 898821 w 928407"/>
                <a:gd name="connsiteY2" fmla="*/ 691540 h 1286083"/>
                <a:gd name="connsiteX3" fmla="*/ 780891 w 928407"/>
                <a:gd name="connsiteY3" fmla="*/ 520987 h 1286083"/>
                <a:gd name="connsiteX4" fmla="*/ 780734 w 928407"/>
                <a:gd name="connsiteY4" fmla="*/ 216624 h 1286083"/>
                <a:gd name="connsiteX5" fmla="*/ 820411 w 928407"/>
                <a:gd name="connsiteY5" fmla="*/ 109701 h 1286083"/>
                <a:gd name="connsiteX6" fmla="*/ 765167 w 928407"/>
                <a:gd name="connsiteY6" fmla="*/ 0 h 1286083"/>
                <a:gd name="connsiteX0" fmla="*/ 145 w 819991"/>
                <a:gd name="connsiteY0" fmla="*/ 1286083 h 1286083"/>
                <a:gd name="connsiteX1" fmla="*/ 170778 w 819991"/>
                <a:gd name="connsiteY1" fmla="*/ 1019083 h 1286083"/>
                <a:gd name="connsiteX2" fmla="*/ 172462 w 819991"/>
                <a:gd name="connsiteY2" fmla="*/ 663259 h 1286083"/>
                <a:gd name="connsiteX3" fmla="*/ 780396 w 819991"/>
                <a:gd name="connsiteY3" fmla="*/ 520987 h 1286083"/>
                <a:gd name="connsiteX4" fmla="*/ 780239 w 819991"/>
                <a:gd name="connsiteY4" fmla="*/ 216624 h 1286083"/>
                <a:gd name="connsiteX5" fmla="*/ 819916 w 819991"/>
                <a:gd name="connsiteY5" fmla="*/ 109701 h 1286083"/>
                <a:gd name="connsiteX6" fmla="*/ 764672 w 819991"/>
                <a:gd name="connsiteY6" fmla="*/ 0 h 1286083"/>
                <a:gd name="connsiteX0" fmla="*/ 145 w 829695"/>
                <a:gd name="connsiteY0" fmla="*/ 1286083 h 1286083"/>
                <a:gd name="connsiteX1" fmla="*/ 170778 w 829695"/>
                <a:gd name="connsiteY1" fmla="*/ 1019083 h 1286083"/>
                <a:gd name="connsiteX2" fmla="*/ 172462 w 829695"/>
                <a:gd name="connsiteY2" fmla="*/ 663259 h 1286083"/>
                <a:gd name="connsiteX3" fmla="*/ 337336 w 829695"/>
                <a:gd name="connsiteY3" fmla="*/ 445572 h 1286083"/>
                <a:gd name="connsiteX4" fmla="*/ 780239 w 829695"/>
                <a:gd name="connsiteY4" fmla="*/ 216624 h 1286083"/>
                <a:gd name="connsiteX5" fmla="*/ 819916 w 829695"/>
                <a:gd name="connsiteY5" fmla="*/ 109701 h 1286083"/>
                <a:gd name="connsiteX6" fmla="*/ 764672 w 829695"/>
                <a:gd name="connsiteY6" fmla="*/ 0 h 1286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29695" h="1286083">
                  <a:moveTo>
                    <a:pt x="145" y="1286083"/>
                  </a:moveTo>
                  <a:cubicBezTo>
                    <a:pt x="-5253" y="1191530"/>
                    <a:pt x="142058" y="1122887"/>
                    <a:pt x="170778" y="1019083"/>
                  </a:cubicBezTo>
                  <a:cubicBezTo>
                    <a:pt x="199498" y="915279"/>
                    <a:pt x="144702" y="758844"/>
                    <a:pt x="172462" y="663259"/>
                  </a:cubicBezTo>
                  <a:cubicBezTo>
                    <a:pt x="200222" y="567674"/>
                    <a:pt x="236040" y="520011"/>
                    <a:pt x="337336" y="445572"/>
                  </a:cubicBezTo>
                  <a:cubicBezTo>
                    <a:pt x="438632" y="371133"/>
                    <a:pt x="699809" y="272602"/>
                    <a:pt x="780239" y="216624"/>
                  </a:cubicBezTo>
                  <a:cubicBezTo>
                    <a:pt x="860669" y="160646"/>
                    <a:pt x="818448" y="147963"/>
                    <a:pt x="819916" y="109701"/>
                  </a:cubicBezTo>
                  <a:cubicBezTo>
                    <a:pt x="821541" y="67351"/>
                    <a:pt x="796802" y="27622"/>
                    <a:pt x="764672" y="0"/>
                  </a:cubicBezTo>
                </a:path>
              </a:pathLst>
            </a:custGeom>
            <a:noFill/>
            <a:ln w="4712" cap="rnd">
              <a:solidFill>
                <a:srgbClr val="7F9E95"/>
              </a:solidFill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</p:grpSp>
      <p:grpSp>
        <p:nvGrpSpPr>
          <p:cNvPr id="103" name="Google Shape;2220;p41">
            <a:extLst>
              <a:ext uri="{FF2B5EF4-FFF2-40B4-BE49-F238E27FC236}">
                <a16:creationId xmlns:a16="http://schemas.microsoft.com/office/drawing/2014/main" id="{E4341D8A-5940-3F31-3A09-027890731C4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 flipH="1">
            <a:off x="7802359" y="807255"/>
            <a:ext cx="528403" cy="291694"/>
            <a:chOff x="2633156" y="1606195"/>
            <a:chExt cx="1016031" cy="560639"/>
          </a:xfrm>
        </p:grpSpPr>
        <p:sp>
          <p:nvSpPr>
            <p:cNvPr id="104" name="Google Shape;2221;p41">
              <a:extLst>
                <a:ext uri="{FF2B5EF4-FFF2-40B4-BE49-F238E27FC236}">
                  <a16:creationId xmlns:a16="http://schemas.microsoft.com/office/drawing/2014/main" id="{9F93905E-4F3B-09B3-B3A4-AC4728869ED1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2654677" y="1909039"/>
              <a:ext cx="963787" cy="257795"/>
            </a:xfrm>
            <a:custGeom>
              <a:avLst/>
              <a:gdLst/>
              <a:ahLst/>
              <a:cxnLst/>
              <a:rect l="l" t="t" r="r" b="b"/>
              <a:pathLst>
                <a:path w="54901" h="14685" extrusionOk="0">
                  <a:moveTo>
                    <a:pt x="38541" y="0"/>
                  </a:moveTo>
                  <a:cubicBezTo>
                    <a:pt x="36660" y="3882"/>
                    <a:pt x="32790" y="6882"/>
                    <a:pt x="28480" y="7120"/>
                  </a:cubicBezTo>
                  <a:cubicBezTo>
                    <a:pt x="28324" y="7129"/>
                    <a:pt x="28167" y="7133"/>
                    <a:pt x="28011" y="7133"/>
                  </a:cubicBezTo>
                  <a:cubicBezTo>
                    <a:pt x="23864" y="7133"/>
                    <a:pt x="19707" y="4277"/>
                    <a:pt x="18800" y="227"/>
                  </a:cubicBezTo>
                  <a:cubicBezTo>
                    <a:pt x="16753" y="2001"/>
                    <a:pt x="14478" y="3608"/>
                    <a:pt x="11907" y="4501"/>
                  </a:cubicBezTo>
                  <a:cubicBezTo>
                    <a:pt x="10607" y="4950"/>
                    <a:pt x="9226" y="5204"/>
                    <a:pt x="7858" y="5204"/>
                  </a:cubicBezTo>
                  <a:cubicBezTo>
                    <a:pt x="6506" y="5204"/>
                    <a:pt x="5166" y="4956"/>
                    <a:pt x="3929" y="4406"/>
                  </a:cubicBezTo>
                  <a:cubicBezTo>
                    <a:pt x="2596" y="3810"/>
                    <a:pt x="1417" y="2846"/>
                    <a:pt x="596" y="1632"/>
                  </a:cubicBezTo>
                  <a:cubicBezTo>
                    <a:pt x="536" y="1548"/>
                    <a:pt x="489" y="1441"/>
                    <a:pt x="429" y="1322"/>
                  </a:cubicBezTo>
                  <a:cubicBezTo>
                    <a:pt x="119" y="2120"/>
                    <a:pt x="0" y="2989"/>
                    <a:pt x="155" y="3858"/>
                  </a:cubicBezTo>
                  <a:cubicBezTo>
                    <a:pt x="921" y="8219"/>
                    <a:pt x="5651" y="9726"/>
                    <a:pt x="10245" y="9726"/>
                  </a:cubicBezTo>
                  <a:cubicBezTo>
                    <a:pt x="12939" y="9726"/>
                    <a:pt x="15586" y="9208"/>
                    <a:pt x="17360" y="8442"/>
                  </a:cubicBezTo>
                  <a:cubicBezTo>
                    <a:pt x="17558" y="8356"/>
                    <a:pt x="17776" y="8269"/>
                    <a:pt x="17980" y="8269"/>
                  </a:cubicBezTo>
                  <a:cubicBezTo>
                    <a:pt x="18058" y="8269"/>
                    <a:pt x="18133" y="8282"/>
                    <a:pt x="18205" y="8311"/>
                  </a:cubicBezTo>
                  <a:cubicBezTo>
                    <a:pt x="18443" y="8406"/>
                    <a:pt x="18586" y="8656"/>
                    <a:pt x="18705" y="8883"/>
                  </a:cubicBezTo>
                  <a:cubicBezTo>
                    <a:pt x="20863" y="12794"/>
                    <a:pt x="24844" y="14684"/>
                    <a:pt x="28939" y="14684"/>
                  </a:cubicBezTo>
                  <a:cubicBezTo>
                    <a:pt x="31601" y="14684"/>
                    <a:pt x="34311" y="13885"/>
                    <a:pt x="36600" y="12323"/>
                  </a:cubicBezTo>
                  <a:cubicBezTo>
                    <a:pt x="38362" y="11133"/>
                    <a:pt x="40363" y="9383"/>
                    <a:pt x="40863" y="7299"/>
                  </a:cubicBezTo>
                  <a:cubicBezTo>
                    <a:pt x="42677" y="8267"/>
                    <a:pt x="44739" y="8766"/>
                    <a:pt x="46798" y="8766"/>
                  </a:cubicBezTo>
                  <a:cubicBezTo>
                    <a:pt x="47955" y="8766"/>
                    <a:pt x="49111" y="8609"/>
                    <a:pt x="50221" y="8287"/>
                  </a:cubicBezTo>
                  <a:cubicBezTo>
                    <a:pt x="52090" y="7763"/>
                    <a:pt x="53971" y="6644"/>
                    <a:pt x="54638" y="4822"/>
                  </a:cubicBezTo>
                  <a:cubicBezTo>
                    <a:pt x="54781" y="4418"/>
                    <a:pt x="54864" y="4001"/>
                    <a:pt x="54900" y="3572"/>
                  </a:cubicBezTo>
                  <a:lnTo>
                    <a:pt x="54900" y="3572"/>
                  </a:lnTo>
                  <a:cubicBezTo>
                    <a:pt x="53492" y="3880"/>
                    <a:pt x="52047" y="4032"/>
                    <a:pt x="50602" y="4032"/>
                  </a:cubicBezTo>
                  <a:cubicBezTo>
                    <a:pt x="46280" y="4032"/>
                    <a:pt x="41949" y="2668"/>
                    <a:pt x="38541" y="0"/>
                  </a:cubicBez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r" defTabSz="711200" rtl="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5" name="Google Shape;2222;p41">
              <a:extLst>
                <a:ext uri="{FF2B5EF4-FFF2-40B4-BE49-F238E27FC236}">
                  <a16:creationId xmlns:a16="http://schemas.microsoft.com/office/drawing/2014/main" id="{A1FED6DC-DCC4-E223-49FE-6C4F41727CC1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2633156" y="1606195"/>
              <a:ext cx="1016031" cy="554282"/>
            </a:xfrm>
            <a:custGeom>
              <a:avLst/>
              <a:gdLst/>
              <a:ahLst/>
              <a:cxnLst/>
              <a:rect l="l" t="t" r="r" b="b"/>
              <a:pathLst>
                <a:path w="57875" h="31574" extrusionOk="0">
                  <a:moveTo>
                    <a:pt x="31675" y="900"/>
                  </a:moveTo>
                  <a:cubicBezTo>
                    <a:pt x="31984" y="900"/>
                    <a:pt x="32294" y="936"/>
                    <a:pt x="32599" y="1012"/>
                  </a:cubicBezTo>
                  <a:cubicBezTo>
                    <a:pt x="33790" y="1298"/>
                    <a:pt x="34826" y="2108"/>
                    <a:pt x="35528" y="3096"/>
                  </a:cubicBezTo>
                  <a:cubicBezTo>
                    <a:pt x="36445" y="4394"/>
                    <a:pt x="36862" y="5965"/>
                    <a:pt x="37040" y="7525"/>
                  </a:cubicBezTo>
                  <a:cubicBezTo>
                    <a:pt x="37064" y="7727"/>
                    <a:pt x="37171" y="7918"/>
                    <a:pt x="37398" y="7978"/>
                  </a:cubicBezTo>
                  <a:cubicBezTo>
                    <a:pt x="37438" y="7990"/>
                    <a:pt x="37482" y="7996"/>
                    <a:pt x="37526" y="7996"/>
                  </a:cubicBezTo>
                  <a:cubicBezTo>
                    <a:pt x="37688" y="7996"/>
                    <a:pt x="37859" y="7913"/>
                    <a:pt x="37933" y="7763"/>
                  </a:cubicBezTo>
                  <a:cubicBezTo>
                    <a:pt x="38735" y="6161"/>
                    <a:pt x="40311" y="5153"/>
                    <a:pt x="42028" y="5153"/>
                  </a:cubicBezTo>
                  <a:cubicBezTo>
                    <a:pt x="42428" y="5153"/>
                    <a:pt x="42836" y="5208"/>
                    <a:pt x="43244" y="5322"/>
                  </a:cubicBezTo>
                  <a:cubicBezTo>
                    <a:pt x="45387" y="5930"/>
                    <a:pt x="46577" y="7894"/>
                    <a:pt x="46780" y="10025"/>
                  </a:cubicBezTo>
                  <a:cubicBezTo>
                    <a:pt x="46911" y="11240"/>
                    <a:pt x="46792" y="12478"/>
                    <a:pt x="46506" y="13669"/>
                  </a:cubicBezTo>
                  <a:cubicBezTo>
                    <a:pt x="46431" y="13951"/>
                    <a:pt x="46660" y="14218"/>
                    <a:pt x="46924" y="14218"/>
                  </a:cubicBezTo>
                  <a:cubicBezTo>
                    <a:pt x="46994" y="14218"/>
                    <a:pt x="47067" y="14199"/>
                    <a:pt x="47137" y="14157"/>
                  </a:cubicBezTo>
                  <a:cubicBezTo>
                    <a:pt x="47892" y="13700"/>
                    <a:pt x="48711" y="13500"/>
                    <a:pt x="49539" y="13500"/>
                  </a:cubicBezTo>
                  <a:cubicBezTo>
                    <a:pt x="51992" y="13500"/>
                    <a:pt x="54532" y="15247"/>
                    <a:pt x="55769" y="17241"/>
                  </a:cubicBezTo>
                  <a:cubicBezTo>
                    <a:pt x="56257" y="18014"/>
                    <a:pt x="56579" y="18896"/>
                    <a:pt x="56436" y="19812"/>
                  </a:cubicBezTo>
                  <a:cubicBezTo>
                    <a:pt x="56293" y="20681"/>
                    <a:pt x="55805" y="21443"/>
                    <a:pt x="55233" y="22086"/>
                  </a:cubicBezTo>
                  <a:cubicBezTo>
                    <a:pt x="54626" y="22777"/>
                    <a:pt x="53900" y="23360"/>
                    <a:pt x="53126" y="23884"/>
                  </a:cubicBezTo>
                  <a:cubicBezTo>
                    <a:pt x="52328" y="24432"/>
                    <a:pt x="51459" y="24896"/>
                    <a:pt x="50518" y="25146"/>
                  </a:cubicBezTo>
                  <a:cubicBezTo>
                    <a:pt x="50082" y="25259"/>
                    <a:pt x="49647" y="25310"/>
                    <a:pt x="49215" y="25310"/>
                  </a:cubicBezTo>
                  <a:cubicBezTo>
                    <a:pt x="47647" y="25310"/>
                    <a:pt x="46126" y="24643"/>
                    <a:pt x="44744" y="23896"/>
                  </a:cubicBezTo>
                  <a:cubicBezTo>
                    <a:pt x="44291" y="23658"/>
                    <a:pt x="43839" y="23337"/>
                    <a:pt x="43363" y="23170"/>
                  </a:cubicBezTo>
                  <a:cubicBezTo>
                    <a:pt x="43227" y="23124"/>
                    <a:pt x="43093" y="23102"/>
                    <a:pt x="42963" y="23102"/>
                  </a:cubicBezTo>
                  <a:cubicBezTo>
                    <a:pt x="42624" y="23102"/>
                    <a:pt x="42308" y="23247"/>
                    <a:pt x="42041" y="23479"/>
                  </a:cubicBezTo>
                  <a:cubicBezTo>
                    <a:pt x="41708" y="23765"/>
                    <a:pt x="41481" y="24182"/>
                    <a:pt x="41231" y="24539"/>
                  </a:cubicBezTo>
                  <a:cubicBezTo>
                    <a:pt x="40969" y="24908"/>
                    <a:pt x="40696" y="25265"/>
                    <a:pt x="40410" y="25611"/>
                  </a:cubicBezTo>
                  <a:cubicBezTo>
                    <a:pt x="38076" y="28421"/>
                    <a:pt x="34743" y="30468"/>
                    <a:pt x="31016" y="30599"/>
                  </a:cubicBezTo>
                  <a:cubicBezTo>
                    <a:pt x="30889" y="30603"/>
                    <a:pt x="30763" y="30606"/>
                    <a:pt x="30636" y="30606"/>
                  </a:cubicBezTo>
                  <a:cubicBezTo>
                    <a:pt x="28924" y="30606"/>
                    <a:pt x="27190" y="30228"/>
                    <a:pt x="25682" y="29397"/>
                  </a:cubicBezTo>
                  <a:cubicBezTo>
                    <a:pt x="23967" y="28456"/>
                    <a:pt x="22670" y="26956"/>
                    <a:pt x="21574" y="25361"/>
                  </a:cubicBezTo>
                  <a:cubicBezTo>
                    <a:pt x="21288" y="24956"/>
                    <a:pt x="21015" y="24539"/>
                    <a:pt x="20741" y="24122"/>
                  </a:cubicBezTo>
                  <a:cubicBezTo>
                    <a:pt x="20647" y="23981"/>
                    <a:pt x="20506" y="23912"/>
                    <a:pt x="20364" y="23912"/>
                  </a:cubicBezTo>
                  <a:cubicBezTo>
                    <a:pt x="20220" y="23912"/>
                    <a:pt x="20075" y="23984"/>
                    <a:pt x="19979" y="24122"/>
                  </a:cubicBezTo>
                  <a:cubicBezTo>
                    <a:pt x="18550" y="26254"/>
                    <a:pt x="16193" y="27551"/>
                    <a:pt x="13740" y="28159"/>
                  </a:cubicBezTo>
                  <a:cubicBezTo>
                    <a:pt x="12591" y="28446"/>
                    <a:pt x="11370" y="28607"/>
                    <a:pt x="10151" y="28607"/>
                  </a:cubicBezTo>
                  <a:cubicBezTo>
                    <a:pt x="8541" y="28607"/>
                    <a:pt x="6932" y="28326"/>
                    <a:pt x="5489" y="27682"/>
                  </a:cubicBezTo>
                  <a:cubicBezTo>
                    <a:pt x="3203" y="26646"/>
                    <a:pt x="1167" y="24503"/>
                    <a:pt x="1012" y="21896"/>
                  </a:cubicBezTo>
                  <a:cubicBezTo>
                    <a:pt x="857" y="19431"/>
                    <a:pt x="2334" y="17062"/>
                    <a:pt x="4405" y="15824"/>
                  </a:cubicBezTo>
                  <a:cubicBezTo>
                    <a:pt x="5659" y="15076"/>
                    <a:pt x="7123" y="14751"/>
                    <a:pt x="8562" y="14751"/>
                  </a:cubicBezTo>
                  <a:cubicBezTo>
                    <a:pt x="8613" y="14751"/>
                    <a:pt x="8664" y="14751"/>
                    <a:pt x="8715" y="14752"/>
                  </a:cubicBezTo>
                  <a:cubicBezTo>
                    <a:pt x="10287" y="14788"/>
                    <a:pt x="11906" y="15169"/>
                    <a:pt x="13323" y="15836"/>
                  </a:cubicBezTo>
                  <a:cubicBezTo>
                    <a:pt x="13390" y="15868"/>
                    <a:pt x="13457" y="15882"/>
                    <a:pt x="13522" y="15882"/>
                  </a:cubicBezTo>
                  <a:cubicBezTo>
                    <a:pt x="13770" y="15882"/>
                    <a:pt x="13975" y="15666"/>
                    <a:pt x="13918" y="15383"/>
                  </a:cubicBezTo>
                  <a:cubicBezTo>
                    <a:pt x="13133" y="11990"/>
                    <a:pt x="12275" y="7847"/>
                    <a:pt x="14621" y="4846"/>
                  </a:cubicBezTo>
                  <a:cubicBezTo>
                    <a:pt x="15585" y="3596"/>
                    <a:pt x="17014" y="2834"/>
                    <a:pt x="18586" y="2763"/>
                  </a:cubicBezTo>
                  <a:cubicBezTo>
                    <a:pt x="18694" y="2758"/>
                    <a:pt x="18802" y="2755"/>
                    <a:pt x="18910" y="2755"/>
                  </a:cubicBezTo>
                  <a:cubicBezTo>
                    <a:pt x="20328" y="2755"/>
                    <a:pt x="21676" y="3197"/>
                    <a:pt x="22705" y="4215"/>
                  </a:cubicBezTo>
                  <a:cubicBezTo>
                    <a:pt x="23884" y="5394"/>
                    <a:pt x="24479" y="7120"/>
                    <a:pt x="24336" y="8787"/>
                  </a:cubicBezTo>
                  <a:cubicBezTo>
                    <a:pt x="24317" y="9052"/>
                    <a:pt x="24554" y="9202"/>
                    <a:pt x="24783" y="9202"/>
                  </a:cubicBezTo>
                  <a:cubicBezTo>
                    <a:pt x="24934" y="9202"/>
                    <a:pt x="25082" y="9137"/>
                    <a:pt x="25150" y="8996"/>
                  </a:cubicBezTo>
                  <a:lnTo>
                    <a:pt x="25150" y="8996"/>
                  </a:lnTo>
                  <a:cubicBezTo>
                    <a:pt x="25276" y="8978"/>
                    <a:pt x="25387" y="8895"/>
                    <a:pt x="25420" y="8728"/>
                  </a:cubicBezTo>
                  <a:cubicBezTo>
                    <a:pt x="25563" y="8013"/>
                    <a:pt x="25646" y="7299"/>
                    <a:pt x="25849" y="6608"/>
                  </a:cubicBezTo>
                  <a:cubicBezTo>
                    <a:pt x="26051" y="5918"/>
                    <a:pt x="26289" y="5227"/>
                    <a:pt x="26599" y="4584"/>
                  </a:cubicBezTo>
                  <a:cubicBezTo>
                    <a:pt x="27170" y="3406"/>
                    <a:pt x="28015" y="2358"/>
                    <a:pt x="29135" y="1667"/>
                  </a:cubicBezTo>
                  <a:cubicBezTo>
                    <a:pt x="29896" y="1198"/>
                    <a:pt x="30781" y="900"/>
                    <a:pt x="31675" y="900"/>
                  </a:cubicBezTo>
                  <a:close/>
                  <a:moveTo>
                    <a:pt x="31733" y="1"/>
                  </a:moveTo>
                  <a:cubicBezTo>
                    <a:pt x="29504" y="1"/>
                    <a:pt x="27473" y="1591"/>
                    <a:pt x="26384" y="3548"/>
                  </a:cubicBezTo>
                  <a:cubicBezTo>
                    <a:pt x="25956" y="4322"/>
                    <a:pt x="25622" y="5132"/>
                    <a:pt x="25360" y="5965"/>
                  </a:cubicBezTo>
                  <a:cubicBezTo>
                    <a:pt x="25295" y="6182"/>
                    <a:pt x="25230" y="6401"/>
                    <a:pt x="25167" y="6620"/>
                  </a:cubicBezTo>
                  <a:lnTo>
                    <a:pt x="25167" y="6620"/>
                  </a:lnTo>
                  <a:cubicBezTo>
                    <a:pt x="25147" y="6525"/>
                    <a:pt x="25124" y="6430"/>
                    <a:pt x="25098" y="6334"/>
                  </a:cubicBezTo>
                  <a:cubicBezTo>
                    <a:pt x="24860" y="5501"/>
                    <a:pt x="24456" y="4715"/>
                    <a:pt x="23920" y="4025"/>
                  </a:cubicBezTo>
                  <a:cubicBezTo>
                    <a:pt x="22824" y="2620"/>
                    <a:pt x="21181" y="1786"/>
                    <a:pt x="19395" y="1679"/>
                  </a:cubicBezTo>
                  <a:cubicBezTo>
                    <a:pt x="19273" y="1671"/>
                    <a:pt x="19150" y="1667"/>
                    <a:pt x="19028" y="1667"/>
                  </a:cubicBezTo>
                  <a:cubicBezTo>
                    <a:pt x="17385" y="1667"/>
                    <a:pt x="15739" y="2399"/>
                    <a:pt x="14609" y="3584"/>
                  </a:cubicBezTo>
                  <a:cubicBezTo>
                    <a:pt x="13407" y="4858"/>
                    <a:pt x="12692" y="6608"/>
                    <a:pt x="12454" y="8323"/>
                  </a:cubicBezTo>
                  <a:cubicBezTo>
                    <a:pt x="12140" y="10470"/>
                    <a:pt x="12489" y="12626"/>
                    <a:pt x="12942" y="14734"/>
                  </a:cubicBezTo>
                  <a:lnTo>
                    <a:pt x="12942" y="14734"/>
                  </a:lnTo>
                  <a:cubicBezTo>
                    <a:pt x="11790" y="14186"/>
                    <a:pt x="10574" y="13839"/>
                    <a:pt x="9287" y="13752"/>
                  </a:cubicBezTo>
                  <a:cubicBezTo>
                    <a:pt x="9062" y="13737"/>
                    <a:pt x="8836" y="13729"/>
                    <a:pt x="8611" y="13729"/>
                  </a:cubicBezTo>
                  <a:cubicBezTo>
                    <a:pt x="7276" y="13729"/>
                    <a:pt x="5951" y="14001"/>
                    <a:pt x="4739" y="14562"/>
                  </a:cubicBezTo>
                  <a:cubicBezTo>
                    <a:pt x="2286" y="15705"/>
                    <a:pt x="441" y="18193"/>
                    <a:pt x="226" y="20908"/>
                  </a:cubicBezTo>
                  <a:cubicBezTo>
                    <a:pt x="0" y="23706"/>
                    <a:pt x="1703" y="26301"/>
                    <a:pt x="4012" y="27742"/>
                  </a:cubicBezTo>
                  <a:cubicBezTo>
                    <a:pt x="5854" y="28891"/>
                    <a:pt x="8061" y="29350"/>
                    <a:pt x="10251" y="29350"/>
                  </a:cubicBezTo>
                  <a:cubicBezTo>
                    <a:pt x="11148" y="29350"/>
                    <a:pt x="12042" y="29273"/>
                    <a:pt x="12906" y="29135"/>
                  </a:cubicBezTo>
                  <a:cubicBezTo>
                    <a:pt x="15743" y="28682"/>
                    <a:pt x="18508" y="27381"/>
                    <a:pt x="20328" y="25126"/>
                  </a:cubicBezTo>
                  <a:lnTo>
                    <a:pt x="20328" y="25126"/>
                  </a:lnTo>
                  <a:cubicBezTo>
                    <a:pt x="21356" y="26721"/>
                    <a:pt x="22500" y="28270"/>
                    <a:pt x="24027" y="29444"/>
                  </a:cubicBezTo>
                  <a:cubicBezTo>
                    <a:pt x="25610" y="30659"/>
                    <a:pt x="27539" y="31349"/>
                    <a:pt x="29528" y="31528"/>
                  </a:cubicBezTo>
                  <a:cubicBezTo>
                    <a:pt x="29869" y="31558"/>
                    <a:pt x="30210" y="31573"/>
                    <a:pt x="30549" y="31573"/>
                  </a:cubicBezTo>
                  <a:cubicBezTo>
                    <a:pt x="34186" y="31573"/>
                    <a:pt x="37610" y="29859"/>
                    <a:pt x="40148" y="27278"/>
                  </a:cubicBezTo>
                  <a:cubicBezTo>
                    <a:pt x="40839" y="26587"/>
                    <a:pt x="41470" y="25813"/>
                    <a:pt x="42029" y="25015"/>
                  </a:cubicBezTo>
                  <a:cubicBezTo>
                    <a:pt x="42232" y="24718"/>
                    <a:pt x="42482" y="24170"/>
                    <a:pt x="42839" y="24051"/>
                  </a:cubicBezTo>
                  <a:cubicBezTo>
                    <a:pt x="42870" y="24041"/>
                    <a:pt x="42901" y="24037"/>
                    <a:pt x="42932" y="24037"/>
                  </a:cubicBezTo>
                  <a:cubicBezTo>
                    <a:pt x="43091" y="24037"/>
                    <a:pt x="43247" y="24150"/>
                    <a:pt x="43386" y="24230"/>
                  </a:cubicBezTo>
                  <a:cubicBezTo>
                    <a:pt x="43625" y="24372"/>
                    <a:pt x="43875" y="24515"/>
                    <a:pt x="44125" y="24658"/>
                  </a:cubicBezTo>
                  <a:cubicBezTo>
                    <a:pt x="45698" y="25532"/>
                    <a:pt x="47399" y="26280"/>
                    <a:pt x="49187" y="26280"/>
                  </a:cubicBezTo>
                  <a:cubicBezTo>
                    <a:pt x="49591" y="26280"/>
                    <a:pt x="49999" y="26242"/>
                    <a:pt x="50411" y="26158"/>
                  </a:cubicBezTo>
                  <a:cubicBezTo>
                    <a:pt x="51423" y="25956"/>
                    <a:pt x="52388" y="25492"/>
                    <a:pt x="53245" y="24944"/>
                  </a:cubicBezTo>
                  <a:cubicBezTo>
                    <a:pt x="54102" y="24396"/>
                    <a:pt x="54924" y="23765"/>
                    <a:pt x="55626" y="23039"/>
                  </a:cubicBezTo>
                  <a:cubicBezTo>
                    <a:pt x="56995" y="21622"/>
                    <a:pt x="57876" y="19669"/>
                    <a:pt x="57114" y="17717"/>
                  </a:cubicBezTo>
                  <a:cubicBezTo>
                    <a:pt x="56424" y="15907"/>
                    <a:pt x="54805" y="14443"/>
                    <a:pt x="53126" y="13550"/>
                  </a:cubicBezTo>
                  <a:cubicBezTo>
                    <a:pt x="52031" y="12973"/>
                    <a:pt x="50771" y="12585"/>
                    <a:pt x="49524" y="12585"/>
                  </a:cubicBezTo>
                  <a:cubicBezTo>
                    <a:pt x="48966" y="12585"/>
                    <a:pt x="48412" y="12663"/>
                    <a:pt x="47875" y="12835"/>
                  </a:cubicBezTo>
                  <a:cubicBezTo>
                    <a:pt x="47750" y="12878"/>
                    <a:pt x="47627" y="12925"/>
                    <a:pt x="47506" y="12977"/>
                  </a:cubicBezTo>
                  <a:lnTo>
                    <a:pt x="47506" y="12977"/>
                  </a:lnTo>
                  <a:cubicBezTo>
                    <a:pt x="47831" y="10899"/>
                    <a:pt x="47800" y="8670"/>
                    <a:pt x="46661" y="6846"/>
                  </a:cubicBezTo>
                  <a:cubicBezTo>
                    <a:pt x="45653" y="5242"/>
                    <a:pt x="43825" y="4265"/>
                    <a:pt x="41970" y="4265"/>
                  </a:cubicBezTo>
                  <a:cubicBezTo>
                    <a:pt x="41348" y="4265"/>
                    <a:pt x="40722" y="4375"/>
                    <a:pt x="40124" y="4608"/>
                  </a:cubicBezTo>
                  <a:cubicBezTo>
                    <a:pt x="39234" y="4958"/>
                    <a:pt x="38413" y="5516"/>
                    <a:pt x="37792" y="6248"/>
                  </a:cubicBezTo>
                  <a:lnTo>
                    <a:pt x="37792" y="6248"/>
                  </a:lnTo>
                  <a:cubicBezTo>
                    <a:pt x="37568" y="5115"/>
                    <a:pt x="37207" y="4013"/>
                    <a:pt x="36600" y="3025"/>
                  </a:cubicBezTo>
                  <a:cubicBezTo>
                    <a:pt x="35850" y="1810"/>
                    <a:pt x="34743" y="822"/>
                    <a:pt x="33409" y="310"/>
                  </a:cubicBezTo>
                  <a:cubicBezTo>
                    <a:pt x="32846" y="98"/>
                    <a:pt x="32283" y="1"/>
                    <a:pt x="31733" y="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r" defTabSz="711200" rtl="1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</p:grpSp>
      <p:sp>
        <p:nvSpPr>
          <p:cNvPr id="13" name="btfpBulletedList680341">
            <a:extLst>
              <a:ext uri="{FF2B5EF4-FFF2-40B4-BE49-F238E27FC236}">
                <a16:creationId xmlns:a16="http://schemas.microsoft.com/office/drawing/2014/main" id="{DC1F7AAD-8BAE-5A51-E02B-E926378284BD}"/>
              </a:ext>
            </a:extLst>
          </p:cNvPr>
          <p:cNvSpPr/>
          <p:nvPr/>
        </p:nvSpPr>
        <p:spPr bwMode="gray">
          <a:xfrm flipH="1">
            <a:off x="2739832" y="2169287"/>
            <a:ext cx="2207810" cy="1667448"/>
          </a:xfrm>
          <a:custGeom>
            <a:avLst/>
            <a:gdLst>
              <a:gd name="connsiteX0" fmla="*/ 0 w 2207810"/>
              <a:gd name="connsiteY0" fmla="*/ 0 h 1667448"/>
              <a:gd name="connsiteX1" fmla="*/ 0 w 2207810"/>
              <a:gd name="connsiteY1" fmla="*/ 0 h 1667448"/>
              <a:gd name="connsiteX2" fmla="*/ 596109 w 2207810"/>
              <a:gd name="connsiteY2" fmla="*/ 0 h 1667448"/>
              <a:gd name="connsiteX3" fmla="*/ 1170139 w 2207810"/>
              <a:gd name="connsiteY3" fmla="*/ 0 h 1667448"/>
              <a:gd name="connsiteX4" fmla="*/ 2207810 w 2207810"/>
              <a:gd name="connsiteY4" fmla="*/ 0 h 1667448"/>
              <a:gd name="connsiteX5" fmla="*/ 2207810 w 2207810"/>
              <a:gd name="connsiteY5" fmla="*/ 0 h 1667448"/>
              <a:gd name="connsiteX6" fmla="*/ 2207810 w 2207810"/>
              <a:gd name="connsiteY6" fmla="*/ 505793 h 1667448"/>
              <a:gd name="connsiteX7" fmla="*/ 2207810 w 2207810"/>
              <a:gd name="connsiteY7" fmla="*/ 1094958 h 1667448"/>
              <a:gd name="connsiteX8" fmla="*/ 2207810 w 2207810"/>
              <a:gd name="connsiteY8" fmla="*/ 1667448 h 1667448"/>
              <a:gd name="connsiteX9" fmla="*/ 2207810 w 2207810"/>
              <a:gd name="connsiteY9" fmla="*/ 1667448 h 1667448"/>
              <a:gd name="connsiteX10" fmla="*/ 1700014 w 2207810"/>
              <a:gd name="connsiteY10" fmla="*/ 1667448 h 1667448"/>
              <a:gd name="connsiteX11" fmla="*/ 1170139 w 2207810"/>
              <a:gd name="connsiteY11" fmla="*/ 1667448 h 1667448"/>
              <a:gd name="connsiteX12" fmla="*/ 684421 w 2207810"/>
              <a:gd name="connsiteY12" fmla="*/ 1667448 h 1667448"/>
              <a:gd name="connsiteX13" fmla="*/ 0 w 2207810"/>
              <a:gd name="connsiteY13" fmla="*/ 1667448 h 1667448"/>
              <a:gd name="connsiteX14" fmla="*/ 0 w 2207810"/>
              <a:gd name="connsiteY14" fmla="*/ 1667448 h 1667448"/>
              <a:gd name="connsiteX15" fmla="*/ 0 w 2207810"/>
              <a:gd name="connsiteY15" fmla="*/ 1094958 h 1667448"/>
              <a:gd name="connsiteX16" fmla="*/ 0 w 2207810"/>
              <a:gd name="connsiteY16" fmla="*/ 589165 h 1667448"/>
              <a:gd name="connsiteX17" fmla="*/ 0 w 2207810"/>
              <a:gd name="connsiteY17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207810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35440" y="-25913"/>
                  <a:pt x="354871" y="-29617"/>
                  <a:pt x="596109" y="0"/>
                </a:cubicBezTo>
                <a:cubicBezTo>
                  <a:pt x="837347" y="29617"/>
                  <a:pt x="1040054" y="18402"/>
                  <a:pt x="1170139" y="0"/>
                </a:cubicBezTo>
                <a:cubicBezTo>
                  <a:pt x="1300224" y="-18402"/>
                  <a:pt x="1978681" y="-7958"/>
                  <a:pt x="2207810" y="0"/>
                </a:cubicBezTo>
                <a:lnTo>
                  <a:pt x="2207810" y="0"/>
                </a:lnTo>
                <a:cubicBezTo>
                  <a:pt x="2183104" y="158603"/>
                  <a:pt x="2203774" y="334968"/>
                  <a:pt x="2207810" y="505793"/>
                </a:cubicBezTo>
                <a:cubicBezTo>
                  <a:pt x="2211846" y="676618"/>
                  <a:pt x="2225926" y="947098"/>
                  <a:pt x="2207810" y="1094958"/>
                </a:cubicBezTo>
                <a:cubicBezTo>
                  <a:pt x="2189694" y="1242819"/>
                  <a:pt x="2198177" y="1493567"/>
                  <a:pt x="2207810" y="1667448"/>
                </a:cubicBezTo>
                <a:lnTo>
                  <a:pt x="2207810" y="1667448"/>
                </a:lnTo>
                <a:cubicBezTo>
                  <a:pt x="1995042" y="1665037"/>
                  <a:pt x="1929815" y="1657692"/>
                  <a:pt x="1700014" y="1667448"/>
                </a:cubicBezTo>
                <a:cubicBezTo>
                  <a:pt x="1470213" y="1677204"/>
                  <a:pt x="1400513" y="1660682"/>
                  <a:pt x="1170139" y="1667448"/>
                </a:cubicBezTo>
                <a:cubicBezTo>
                  <a:pt x="939765" y="1674214"/>
                  <a:pt x="811276" y="1676565"/>
                  <a:pt x="684421" y="1667448"/>
                </a:cubicBezTo>
                <a:cubicBezTo>
                  <a:pt x="557566" y="1658331"/>
                  <a:pt x="174875" y="1657986"/>
                  <a:pt x="0" y="1667448"/>
                </a:cubicBezTo>
                <a:lnTo>
                  <a:pt x="0" y="1667448"/>
                </a:lnTo>
                <a:cubicBezTo>
                  <a:pt x="15852" y="1525809"/>
                  <a:pt x="-130" y="1226854"/>
                  <a:pt x="0" y="1094958"/>
                </a:cubicBezTo>
                <a:cubicBezTo>
                  <a:pt x="130" y="963062"/>
                  <a:pt x="-14680" y="774249"/>
                  <a:pt x="0" y="589165"/>
                </a:cubicBezTo>
                <a:cubicBezTo>
                  <a:pt x="14680" y="404081"/>
                  <a:pt x="-28897" y="194722"/>
                  <a:pt x="0" y="0"/>
                </a:cubicBezTo>
                <a:close/>
              </a:path>
              <a:path w="2207810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52463" y="17347"/>
                  <a:pt x="365573" y="-8829"/>
                  <a:pt x="529874" y="0"/>
                </a:cubicBezTo>
                <a:cubicBezTo>
                  <a:pt x="694175" y="8829"/>
                  <a:pt x="823244" y="-16014"/>
                  <a:pt x="1015593" y="0"/>
                </a:cubicBezTo>
                <a:cubicBezTo>
                  <a:pt x="1207942" y="16014"/>
                  <a:pt x="1393976" y="-23666"/>
                  <a:pt x="1611701" y="0"/>
                </a:cubicBezTo>
                <a:cubicBezTo>
                  <a:pt x="1829426" y="23666"/>
                  <a:pt x="1915813" y="-10344"/>
                  <a:pt x="2207810" y="0"/>
                </a:cubicBezTo>
                <a:lnTo>
                  <a:pt x="2207810" y="0"/>
                </a:lnTo>
                <a:cubicBezTo>
                  <a:pt x="2224189" y="236258"/>
                  <a:pt x="2211787" y="430174"/>
                  <a:pt x="2207810" y="539142"/>
                </a:cubicBezTo>
                <a:cubicBezTo>
                  <a:pt x="2203833" y="648110"/>
                  <a:pt x="2231693" y="892874"/>
                  <a:pt x="2207810" y="1061609"/>
                </a:cubicBezTo>
                <a:cubicBezTo>
                  <a:pt x="2183927" y="1230344"/>
                  <a:pt x="2219711" y="1524080"/>
                  <a:pt x="2207810" y="1667448"/>
                </a:cubicBezTo>
                <a:lnTo>
                  <a:pt x="2207810" y="1667448"/>
                </a:lnTo>
                <a:cubicBezTo>
                  <a:pt x="2068877" y="1671897"/>
                  <a:pt x="1910196" y="1679942"/>
                  <a:pt x="1655858" y="1667448"/>
                </a:cubicBezTo>
                <a:cubicBezTo>
                  <a:pt x="1401520" y="1654954"/>
                  <a:pt x="1381634" y="1661270"/>
                  <a:pt x="1170139" y="1667448"/>
                </a:cubicBezTo>
                <a:cubicBezTo>
                  <a:pt x="958644" y="1673626"/>
                  <a:pt x="735061" y="1647075"/>
                  <a:pt x="618187" y="1667448"/>
                </a:cubicBezTo>
                <a:cubicBezTo>
                  <a:pt x="501313" y="1687821"/>
                  <a:pt x="232266" y="1685009"/>
                  <a:pt x="0" y="1667448"/>
                </a:cubicBezTo>
                <a:lnTo>
                  <a:pt x="0" y="1667448"/>
                </a:lnTo>
                <a:cubicBezTo>
                  <a:pt x="6168" y="1483239"/>
                  <a:pt x="16953" y="1304143"/>
                  <a:pt x="0" y="1128306"/>
                </a:cubicBezTo>
                <a:cubicBezTo>
                  <a:pt x="-16953" y="952469"/>
                  <a:pt x="-21821" y="796208"/>
                  <a:pt x="0" y="589165"/>
                </a:cubicBezTo>
                <a:cubicBezTo>
                  <a:pt x="21821" y="382122"/>
                  <a:pt x="-6093" y="259509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وضع آلية لمراجعة وتحديث مناهج البرنامج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27" name="btfpBulletedList680341">
            <a:extLst>
              <a:ext uri="{FF2B5EF4-FFF2-40B4-BE49-F238E27FC236}">
                <a16:creationId xmlns:a16="http://schemas.microsoft.com/office/drawing/2014/main" id="{C784238F-4FDF-0759-0699-A56F5627819A}"/>
              </a:ext>
            </a:extLst>
          </p:cNvPr>
          <p:cNvSpPr/>
          <p:nvPr/>
        </p:nvSpPr>
        <p:spPr bwMode="gray">
          <a:xfrm flipH="1">
            <a:off x="5017933" y="2169287"/>
            <a:ext cx="2194289" cy="1667448"/>
          </a:xfrm>
          <a:custGeom>
            <a:avLst/>
            <a:gdLst>
              <a:gd name="connsiteX0" fmla="*/ 0 w 2194289"/>
              <a:gd name="connsiteY0" fmla="*/ 0 h 1667448"/>
              <a:gd name="connsiteX1" fmla="*/ 0 w 2194289"/>
              <a:gd name="connsiteY1" fmla="*/ 0 h 1667448"/>
              <a:gd name="connsiteX2" fmla="*/ 504686 w 2194289"/>
              <a:gd name="connsiteY2" fmla="*/ 0 h 1667448"/>
              <a:gd name="connsiteX3" fmla="*/ 1009373 w 2194289"/>
              <a:gd name="connsiteY3" fmla="*/ 0 h 1667448"/>
              <a:gd name="connsiteX4" fmla="*/ 1492117 w 2194289"/>
              <a:gd name="connsiteY4" fmla="*/ 0 h 1667448"/>
              <a:gd name="connsiteX5" fmla="*/ 2194289 w 2194289"/>
              <a:gd name="connsiteY5" fmla="*/ 0 h 1667448"/>
              <a:gd name="connsiteX6" fmla="*/ 2194289 w 2194289"/>
              <a:gd name="connsiteY6" fmla="*/ 0 h 1667448"/>
              <a:gd name="connsiteX7" fmla="*/ 2194289 w 2194289"/>
              <a:gd name="connsiteY7" fmla="*/ 505793 h 1667448"/>
              <a:gd name="connsiteX8" fmla="*/ 2194289 w 2194289"/>
              <a:gd name="connsiteY8" fmla="*/ 1061609 h 1667448"/>
              <a:gd name="connsiteX9" fmla="*/ 2194289 w 2194289"/>
              <a:gd name="connsiteY9" fmla="*/ 1667448 h 1667448"/>
              <a:gd name="connsiteX10" fmla="*/ 2194289 w 2194289"/>
              <a:gd name="connsiteY10" fmla="*/ 1667448 h 1667448"/>
              <a:gd name="connsiteX11" fmla="*/ 1689603 w 2194289"/>
              <a:gd name="connsiteY11" fmla="*/ 1667448 h 1667448"/>
              <a:gd name="connsiteX12" fmla="*/ 1141030 w 2194289"/>
              <a:gd name="connsiteY12" fmla="*/ 1667448 h 1667448"/>
              <a:gd name="connsiteX13" fmla="*/ 636344 w 2194289"/>
              <a:gd name="connsiteY13" fmla="*/ 1667448 h 1667448"/>
              <a:gd name="connsiteX14" fmla="*/ 0 w 2194289"/>
              <a:gd name="connsiteY14" fmla="*/ 1667448 h 1667448"/>
              <a:gd name="connsiteX15" fmla="*/ 0 w 2194289"/>
              <a:gd name="connsiteY15" fmla="*/ 1667448 h 1667448"/>
              <a:gd name="connsiteX16" fmla="*/ 0 w 2194289"/>
              <a:gd name="connsiteY16" fmla="*/ 1161655 h 1667448"/>
              <a:gd name="connsiteX17" fmla="*/ 0 w 2194289"/>
              <a:gd name="connsiteY17" fmla="*/ 605839 h 1667448"/>
              <a:gd name="connsiteX18" fmla="*/ 0 w 2194289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94289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29454" y="-18036"/>
                  <a:pt x="363601" y="6199"/>
                  <a:pt x="504686" y="0"/>
                </a:cubicBezTo>
                <a:cubicBezTo>
                  <a:pt x="645771" y="-6199"/>
                  <a:pt x="814912" y="12768"/>
                  <a:pt x="1009373" y="0"/>
                </a:cubicBezTo>
                <a:cubicBezTo>
                  <a:pt x="1203834" y="-12768"/>
                  <a:pt x="1383536" y="10167"/>
                  <a:pt x="1492117" y="0"/>
                </a:cubicBezTo>
                <a:cubicBezTo>
                  <a:pt x="1600698" y="-10167"/>
                  <a:pt x="2026419" y="9823"/>
                  <a:pt x="2194289" y="0"/>
                </a:cubicBezTo>
                <a:lnTo>
                  <a:pt x="2194289" y="0"/>
                </a:lnTo>
                <a:cubicBezTo>
                  <a:pt x="2212384" y="144182"/>
                  <a:pt x="2213214" y="293227"/>
                  <a:pt x="2194289" y="505793"/>
                </a:cubicBezTo>
                <a:cubicBezTo>
                  <a:pt x="2175364" y="718359"/>
                  <a:pt x="2199115" y="844356"/>
                  <a:pt x="2194289" y="1061609"/>
                </a:cubicBezTo>
                <a:cubicBezTo>
                  <a:pt x="2189463" y="1278862"/>
                  <a:pt x="2218879" y="1428038"/>
                  <a:pt x="2194289" y="1667448"/>
                </a:cubicBezTo>
                <a:lnTo>
                  <a:pt x="2194289" y="1667448"/>
                </a:lnTo>
                <a:cubicBezTo>
                  <a:pt x="1946935" y="1677803"/>
                  <a:pt x="1867862" y="1660495"/>
                  <a:pt x="1689603" y="1667448"/>
                </a:cubicBezTo>
                <a:cubicBezTo>
                  <a:pt x="1511344" y="1674401"/>
                  <a:pt x="1401831" y="1640685"/>
                  <a:pt x="1141030" y="1667448"/>
                </a:cubicBezTo>
                <a:cubicBezTo>
                  <a:pt x="880229" y="1694211"/>
                  <a:pt x="743487" y="1664745"/>
                  <a:pt x="636344" y="1667448"/>
                </a:cubicBezTo>
                <a:cubicBezTo>
                  <a:pt x="529201" y="1670151"/>
                  <a:pt x="292352" y="1683869"/>
                  <a:pt x="0" y="1667448"/>
                </a:cubicBezTo>
                <a:lnTo>
                  <a:pt x="0" y="1667448"/>
                </a:lnTo>
                <a:cubicBezTo>
                  <a:pt x="-2677" y="1437476"/>
                  <a:pt x="-6269" y="1308338"/>
                  <a:pt x="0" y="1161655"/>
                </a:cubicBezTo>
                <a:cubicBezTo>
                  <a:pt x="6269" y="1014972"/>
                  <a:pt x="-11164" y="821908"/>
                  <a:pt x="0" y="605839"/>
                </a:cubicBezTo>
                <a:cubicBezTo>
                  <a:pt x="11164" y="389770"/>
                  <a:pt x="27829" y="147490"/>
                  <a:pt x="0" y="0"/>
                </a:cubicBezTo>
                <a:close/>
              </a:path>
              <a:path w="2194289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79263" y="230373"/>
                  <a:pt x="2210299" y="469951"/>
                  <a:pt x="2194289" y="589165"/>
                </a:cubicBezTo>
                <a:cubicBezTo>
                  <a:pt x="2178279" y="708379"/>
                  <a:pt x="2208103" y="1025334"/>
                  <a:pt x="2194289" y="1144981"/>
                </a:cubicBezTo>
                <a:cubicBezTo>
                  <a:pt x="2180475" y="1264628"/>
                  <a:pt x="2219350" y="1482234"/>
                  <a:pt x="2194289" y="1667448"/>
                </a:cubicBezTo>
                <a:lnTo>
                  <a:pt x="2194289" y="1667448"/>
                </a:lnTo>
                <a:cubicBezTo>
                  <a:pt x="1980689" y="1691460"/>
                  <a:pt x="1934591" y="1691239"/>
                  <a:pt x="1689603" y="1667448"/>
                </a:cubicBezTo>
                <a:cubicBezTo>
                  <a:pt x="1444615" y="1643657"/>
                  <a:pt x="1309809" y="1665491"/>
                  <a:pt x="1184916" y="1667448"/>
                </a:cubicBezTo>
                <a:cubicBezTo>
                  <a:pt x="1060023" y="1669405"/>
                  <a:pt x="890996" y="1656484"/>
                  <a:pt x="636344" y="1667448"/>
                </a:cubicBezTo>
                <a:cubicBezTo>
                  <a:pt x="381692" y="1678412"/>
                  <a:pt x="284230" y="1655792"/>
                  <a:pt x="0" y="1667448"/>
                </a:cubicBezTo>
                <a:lnTo>
                  <a:pt x="0" y="1667448"/>
                </a:lnTo>
                <a:cubicBezTo>
                  <a:pt x="-10476" y="1401498"/>
                  <a:pt x="9186" y="1346955"/>
                  <a:pt x="0" y="1094958"/>
                </a:cubicBezTo>
                <a:cubicBezTo>
                  <a:pt x="-9186" y="842961"/>
                  <a:pt x="-3026" y="695119"/>
                  <a:pt x="0" y="572490"/>
                </a:cubicBezTo>
                <a:cubicBezTo>
                  <a:pt x="3026" y="449861"/>
                  <a:pt x="12102" y="208037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وجود موظفين مؤهلين لتقديم التدريبات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39" name="btfpBulletedList680341">
            <a:extLst>
              <a:ext uri="{FF2B5EF4-FFF2-40B4-BE49-F238E27FC236}">
                <a16:creationId xmlns:a16="http://schemas.microsoft.com/office/drawing/2014/main" id="{0EF410C9-AA34-CA09-9B4E-DB25368398A0}"/>
              </a:ext>
            </a:extLst>
          </p:cNvPr>
          <p:cNvSpPr/>
          <p:nvPr/>
        </p:nvSpPr>
        <p:spPr bwMode="gray">
          <a:xfrm flipH="1">
            <a:off x="9547093" y="2169287"/>
            <a:ext cx="2194289" cy="1667448"/>
          </a:xfrm>
          <a:custGeom>
            <a:avLst/>
            <a:gdLst>
              <a:gd name="connsiteX0" fmla="*/ 0 w 2194289"/>
              <a:gd name="connsiteY0" fmla="*/ 0 h 1667448"/>
              <a:gd name="connsiteX1" fmla="*/ 0 w 2194289"/>
              <a:gd name="connsiteY1" fmla="*/ 0 h 1667448"/>
              <a:gd name="connsiteX2" fmla="*/ 482744 w 2194289"/>
              <a:gd name="connsiteY2" fmla="*/ 0 h 1667448"/>
              <a:gd name="connsiteX3" fmla="*/ 987430 w 2194289"/>
              <a:gd name="connsiteY3" fmla="*/ 0 h 1667448"/>
              <a:gd name="connsiteX4" fmla="*/ 1492117 w 2194289"/>
              <a:gd name="connsiteY4" fmla="*/ 0 h 1667448"/>
              <a:gd name="connsiteX5" fmla="*/ 2194289 w 2194289"/>
              <a:gd name="connsiteY5" fmla="*/ 0 h 1667448"/>
              <a:gd name="connsiteX6" fmla="*/ 2194289 w 2194289"/>
              <a:gd name="connsiteY6" fmla="*/ 0 h 1667448"/>
              <a:gd name="connsiteX7" fmla="*/ 2194289 w 2194289"/>
              <a:gd name="connsiteY7" fmla="*/ 555816 h 1667448"/>
              <a:gd name="connsiteX8" fmla="*/ 2194289 w 2194289"/>
              <a:gd name="connsiteY8" fmla="*/ 1128306 h 1667448"/>
              <a:gd name="connsiteX9" fmla="*/ 2194289 w 2194289"/>
              <a:gd name="connsiteY9" fmla="*/ 1667448 h 1667448"/>
              <a:gd name="connsiteX10" fmla="*/ 2194289 w 2194289"/>
              <a:gd name="connsiteY10" fmla="*/ 1667448 h 1667448"/>
              <a:gd name="connsiteX11" fmla="*/ 1667660 w 2194289"/>
              <a:gd name="connsiteY11" fmla="*/ 1667448 h 1667448"/>
              <a:gd name="connsiteX12" fmla="*/ 1162973 w 2194289"/>
              <a:gd name="connsiteY12" fmla="*/ 1667448 h 1667448"/>
              <a:gd name="connsiteX13" fmla="*/ 658287 w 2194289"/>
              <a:gd name="connsiteY13" fmla="*/ 1667448 h 1667448"/>
              <a:gd name="connsiteX14" fmla="*/ 0 w 2194289"/>
              <a:gd name="connsiteY14" fmla="*/ 1667448 h 1667448"/>
              <a:gd name="connsiteX15" fmla="*/ 0 w 2194289"/>
              <a:gd name="connsiteY15" fmla="*/ 1667448 h 1667448"/>
              <a:gd name="connsiteX16" fmla="*/ 0 w 2194289"/>
              <a:gd name="connsiteY16" fmla="*/ 1161655 h 1667448"/>
              <a:gd name="connsiteX17" fmla="*/ 0 w 2194289"/>
              <a:gd name="connsiteY17" fmla="*/ 639188 h 1667448"/>
              <a:gd name="connsiteX18" fmla="*/ 0 w 2194289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94289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58612" y="-14540"/>
                  <a:pt x="386141" y="-7387"/>
                  <a:pt x="482744" y="0"/>
                </a:cubicBezTo>
                <a:cubicBezTo>
                  <a:pt x="579347" y="7387"/>
                  <a:pt x="804394" y="-23503"/>
                  <a:pt x="987430" y="0"/>
                </a:cubicBezTo>
                <a:cubicBezTo>
                  <a:pt x="1170466" y="23503"/>
                  <a:pt x="1332039" y="8555"/>
                  <a:pt x="1492117" y="0"/>
                </a:cubicBezTo>
                <a:cubicBezTo>
                  <a:pt x="1652195" y="-8555"/>
                  <a:pt x="1909555" y="-6468"/>
                  <a:pt x="2194289" y="0"/>
                </a:cubicBezTo>
                <a:lnTo>
                  <a:pt x="2194289" y="0"/>
                </a:lnTo>
                <a:cubicBezTo>
                  <a:pt x="2174227" y="169316"/>
                  <a:pt x="2221199" y="294859"/>
                  <a:pt x="2194289" y="555816"/>
                </a:cubicBezTo>
                <a:cubicBezTo>
                  <a:pt x="2167379" y="816773"/>
                  <a:pt x="2190760" y="983473"/>
                  <a:pt x="2194289" y="1128306"/>
                </a:cubicBezTo>
                <a:cubicBezTo>
                  <a:pt x="2197819" y="1273139"/>
                  <a:pt x="2207631" y="1423351"/>
                  <a:pt x="2194289" y="1667448"/>
                </a:cubicBezTo>
                <a:lnTo>
                  <a:pt x="2194289" y="1667448"/>
                </a:lnTo>
                <a:cubicBezTo>
                  <a:pt x="2012972" y="1648387"/>
                  <a:pt x="1773259" y="1683761"/>
                  <a:pt x="1667660" y="1667448"/>
                </a:cubicBezTo>
                <a:cubicBezTo>
                  <a:pt x="1562061" y="1651135"/>
                  <a:pt x="1359536" y="1690106"/>
                  <a:pt x="1162973" y="1667448"/>
                </a:cubicBezTo>
                <a:cubicBezTo>
                  <a:pt x="966410" y="1644790"/>
                  <a:pt x="835573" y="1645572"/>
                  <a:pt x="658287" y="1667448"/>
                </a:cubicBezTo>
                <a:cubicBezTo>
                  <a:pt x="481001" y="1689324"/>
                  <a:pt x="190615" y="1693140"/>
                  <a:pt x="0" y="1667448"/>
                </a:cubicBezTo>
                <a:lnTo>
                  <a:pt x="0" y="1667448"/>
                </a:lnTo>
                <a:cubicBezTo>
                  <a:pt x="-17306" y="1517590"/>
                  <a:pt x="-8407" y="1335494"/>
                  <a:pt x="0" y="1161655"/>
                </a:cubicBezTo>
                <a:cubicBezTo>
                  <a:pt x="8407" y="987816"/>
                  <a:pt x="-23197" y="816441"/>
                  <a:pt x="0" y="639188"/>
                </a:cubicBezTo>
                <a:cubicBezTo>
                  <a:pt x="23197" y="461935"/>
                  <a:pt x="24637" y="283017"/>
                  <a:pt x="0" y="0"/>
                </a:cubicBezTo>
                <a:close/>
              </a:path>
              <a:path w="2194289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68168" y="-16490"/>
                  <a:pt x="308165" y="15585"/>
                  <a:pt x="504686" y="0"/>
                </a:cubicBezTo>
                <a:cubicBezTo>
                  <a:pt x="701207" y="-15585"/>
                  <a:pt x="810929" y="26960"/>
                  <a:pt x="1053259" y="0"/>
                </a:cubicBezTo>
                <a:cubicBezTo>
                  <a:pt x="1295589" y="-26960"/>
                  <a:pt x="1383147" y="-4245"/>
                  <a:pt x="1601831" y="0"/>
                </a:cubicBezTo>
                <a:cubicBezTo>
                  <a:pt x="1820515" y="4245"/>
                  <a:pt x="2047995" y="4598"/>
                  <a:pt x="2194289" y="0"/>
                </a:cubicBezTo>
                <a:lnTo>
                  <a:pt x="2194289" y="0"/>
                </a:lnTo>
                <a:cubicBezTo>
                  <a:pt x="2170355" y="209493"/>
                  <a:pt x="2187820" y="284826"/>
                  <a:pt x="2194289" y="505793"/>
                </a:cubicBezTo>
                <a:cubicBezTo>
                  <a:pt x="2200758" y="726760"/>
                  <a:pt x="2169521" y="837657"/>
                  <a:pt x="2194289" y="1078283"/>
                </a:cubicBezTo>
                <a:cubicBezTo>
                  <a:pt x="2219058" y="1318909"/>
                  <a:pt x="2189144" y="1502983"/>
                  <a:pt x="2194289" y="1667448"/>
                </a:cubicBezTo>
                <a:lnTo>
                  <a:pt x="2194289" y="1667448"/>
                </a:lnTo>
                <a:cubicBezTo>
                  <a:pt x="2038774" y="1672525"/>
                  <a:pt x="1851999" y="1646246"/>
                  <a:pt x="1711545" y="1667448"/>
                </a:cubicBezTo>
                <a:cubicBezTo>
                  <a:pt x="1571091" y="1688650"/>
                  <a:pt x="1402801" y="1679959"/>
                  <a:pt x="1119087" y="1667448"/>
                </a:cubicBezTo>
                <a:cubicBezTo>
                  <a:pt x="835373" y="1654937"/>
                  <a:pt x="724662" y="1692531"/>
                  <a:pt x="548572" y="1667448"/>
                </a:cubicBezTo>
                <a:cubicBezTo>
                  <a:pt x="372483" y="1642365"/>
                  <a:pt x="134138" y="1673515"/>
                  <a:pt x="0" y="1667448"/>
                </a:cubicBezTo>
                <a:lnTo>
                  <a:pt x="0" y="1667448"/>
                </a:lnTo>
                <a:cubicBezTo>
                  <a:pt x="-2013" y="1509576"/>
                  <a:pt x="15877" y="1381504"/>
                  <a:pt x="0" y="1144981"/>
                </a:cubicBezTo>
                <a:cubicBezTo>
                  <a:pt x="-15877" y="908458"/>
                  <a:pt x="-7351" y="760731"/>
                  <a:pt x="0" y="572490"/>
                </a:cubicBezTo>
                <a:cubicBezTo>
                  <a:pt x="7351" y="384249"/>
                  <a:pt x="22843" y="216949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616015675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مواءمة نتائج تعلم البرنامج مع كفاءات تنمية الطفولة المبكرة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40" name="btfpBulletedList680341">
            <a:extLst>
              <a:ext uri="{FF2B5EF4-FFF2-40B4-BE49-F238E27FC236}">
                <a16:creationId xmlns:a16="http://schemas.microsoft.com/office/drawing/2014/main" id="{746B8C98-CF9E-DF61-3054-A5F821A23249}"/>
              </a:ext>
            </a:extLst>
          </p:cNvPr>
          <p:cNvSpPr/>
          <p:nvPr/>
        </p:nvSpPr>
        <p:spPr bwMode="gray">
          <a:xfrm flipH="1">
            <a:off x="461729" y="2169287"/>
            <a:ext cx="2207810" cy="1667448"/>
          </a:xfrm>
          <a:custGeom>
            <a:avLst/>
            <a:gdLst>
              <a:gd name="connsiteX0" fmla="*/ 0 w 2207810"/>
              <a:gd name="connsiteY0" fmla="*/ 0 h 1667448"/>
              <a:gd name="connsiteX1" fmla="*/ 0 w 2207810"/>
              <a:gd name="connsiteY1" fmla="*/ 0 h 1667448"/>
              <a:gd name="connsiteX2" fmla="*/ 507796 w 2207810"/>
              <a:gd name="connsiteY2" fmla="*/ 0 h 1667448"/>
              <a:gd name="connsiteX3" fmla="*/ 1015593 w 2207810"/>
              <a:gd name="connsiteY3" fmla="*/ 0 h 1667448"/>
              <a:gd name="connsiteX4" fmla="*/ 1501311 w 2207810"/>
              <a:gd name="connsiteY4" fmla="*/ 0 h 1667448"/>
              <a:gd name="connsiteX5" fmla="*/ 2207810 w 2207810"/>
              <a:gd name="connsiteY5" fmla="*/ 0 h 1667448"/>
              <a:gd name="connsiteX6" fmla="*/ 2207810 w 2207810"/>
              <a:gd name="connsiteY6" fmla="*/ 0 h 1667448"/>
              <a:gd name="connsiteX7" fmla="*/ 2207810 w 2207810"/>
              <a:gd name="connsiteY7" fmla="*/ 505793 h 1667448"/>
              <a:gd name="connsiteX8" fmla="*/ 2207810 w 2207810"/>
              <a:gd name="connsiteY8" fmla="*/ 1061609 h 1667448"/>
              <a:gd name="connsiteX9" fmla="*/ 2207810 w 2207810"/>
              <a:gd name="connsiteY9" fmla="*/ 1667448 h 1667448"/>
              <a:gd name="connsiteX10" fmla="*/ 2207810 w 2207810"/>
              <a:gd name="connsiteY10" fmla="*/ 1667448 h 1667448"/>
              <a:gd name="connsiteX11" fmla="*/ 1700014 w 2207810"/>
              <a:gd name="connsiteY11" fmla="*/ 1667448 h 1667448"/>
              <a:gd name="connsiteX12" fmla="*/ 1148061 w 2207810"/>
              <a:gd name="connsiteY12" fmla="*/ 1667448 h 1667448"/>
              <a:gd name="connsiteX13" fmla="*/ 640265 w 2207810"/>
              <a:gd name="connsiteY13" fmla="*/ 1667448 h 1667448"/>
              <a:gd name="connsiteX14" fmla="*/ 0 w 2207810"/>
              <a:gd name="connsiteY14" fmla="*/ 1667448 h 1667448"/>
              <a:gd name="connsiteX15" fmla="*/ 0 w 2207810"/>
              <a:gd name="connsiteY15" fmla="*/ 1667448 h 1667448"/>
              <a:gd name="connsiteX16" fmla="*/ 0 w 2207810"/>
              <a:gd name="connsiteY16" fmla="*/ 1161655 h 1667448"/>
              <a:gd name="connsiteX17" fmla="*/ 0 w 2207810"/>
              <a:gd name="connsiteY17" fmla="*/ 605839 h 1667448"/>
              <a:gd name="connsiteX18" fmla="*/ 0 w 2207810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207810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39454" y="-19076"/>
                  <a:pt x="327421" y="2238"/>
                  <a:pt x="507796" y="0"/>
                </a:cubicBezTo>
                <a:cubicBezTo>
                  <a:pt x="688171" y="-2238"/>
                  <a:pt x="851142" y="-11418"/>
                  <a:pt x="1015593" y="0"/>
                </a:cubicBezTo>
                <a:cubicBezTo>
                  <a:pt x="1180044" y="11418"/>
                  <a:pt x="1283027" y="18380"/>
                  <a:pt x="1501311" y="0"/>
                </a:cubicBezTo>
                <a:cubicBezTo>
                  <a:pt x="1719595" y="-18380"/>
                  <a:pt x="2028310" y="-5386"/>
                  <a:pt x="2207810" y="0"/>
                </a:cubicBezTo>
                <a:lnTo>
                  <a:pt x="2207810" y="0"/>
                </a:lnTo>
                <a:cubicBezTo>
                  <a:pt x="2225905" y="144182"/>
                  <a:pt x="2226735" y="293227"/>
                  <a:pt x="2207810" y="505793"/>
                </a:cubicBezTo>
                <a:cubicBezTo>
                  <a:pt x="2188885" y="718359"/>
                  <a:pt x="2212636" y="844356"/>
                  <a:pt x="2207810" y="1061609"/>
                </a:cubicBezTo>
                <a:cubicBezTo>
                  <a:pt x="2202984" y="1278862"/>
                  <a:pt x="2232400" y="1428038"/>
                  <a:pt x="2207810" y="1667448"/>
                </a:cubicBezTo>
                <a:lnTo>
                  <a:pt x="2207810" y="1667448"/>
                </a:lnTo>
                <a:cubicBezTo>
                  <a:pt x="2068628" y="1672928"/>
                  <a:pt x="1895450" y="1647826"/>
                  <a:pt x="1700014" y="1667448"/>
                </a:cubicBezTo>
                <a:cubicBezTo>
                  <a:pt x="1504578" y="1687070"/>
                  <a:pt x="1409738" y="1669361"/>
                  <a:pt x="1148061" y="1667448"/>
                </a:cubicBezTo>
                <a:cubicBezTo>
                  <a:pt x="886384" y="1665535"/>
                  <a:pt x="742755" y="1687700"/>
                  <a:pt x="640265" y="1667448"/>
                </a:cubicBezTo>
                <a:cubicBezTo>
                  <a:pt x="537775" y="1647196"/>
                  <a:pt x="310639" y="1656493"/>
                  <a:pt x="0" y="1667448"/>
                </a:cubicBezTo>
                <a:lnTo>
                  <a:pt x="0" y="1667448"/>
                </a:lnTo>
                <a:cubicBezTo>
                  <a:pt x="-2677" y="1437476"/>
                  <a:pt x="-6269" y="1308338"/>
                  <a:pt x="0" y="1161655"/>
                </a:cubicBezTo>
                <a:cubicBezTo>
                  <a:pt x="6269" y="1014972"/>
                  <a:pt x="-11164" y="821908"/>
                  <a:pt x="0" y="605839"/>
                </a:cubicBezTo>
                <a:cubicBezTo>
                  <a:pt x="11164" y="389770"/>
                  <a:pt x="27829" y="147490"/>
                  <a:pt x="0" y="0"/>
                </a:cubicBezTo>
                <a:close/>
              </a:path>
              <a:path w="2207810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09003" y="10853"/>
                  <a:pt x="356619" y="-12983"/>
                  <a:pt x="485718" y="0"/>
                </a:cubicBezTo>
                <a:cubicBezTo>
                  <a:pt x="614817" y="12983"/>
                  <a:pt x="864833" y="-6428"/>
                  <a:pt x="993515" y="0"/>
                </a:cubicBezTo>
                <a:cubicBezTo>
                  <a:pt x="1122197" y="6428"/>
                  <a:pt x="1371056" y="1649"/>
                  <a:pt x="1567545" y="0"/>
                </a:cubicBezTo>
                <a:cubicBezTo>
                  <a:pt x="1764034" y="-1649"/>
                  <a:pt x="2032476" y="-29337"/>
                  <a:pt x="2207810" y="0"/>
                </a:cubicBezTo>
                <a:lnTo>
                  <a:pt x="2207810" y="0"/>
                </a:lnTo>
                <a:cubicBezTo>
                  <a:pt x="2192784" y="230373"/>
                  <a:pt x="2223820" y="469951"/>
                  <a:pt x="2207810" y="589165"/>
                </a:cubicBezTo>
                <a:cubicBezTo>
                  <a:pt x="2191800" y="708379"/>
                  <a:pt x="2221624" y="1025334"/>
                  <a:pt x="2207810" y="1144981"/>
                </a:cubicBezTo>
                <a:cubicBezTo>
                  <a:pt x="2193996" y="1264628"/>
                  <a:pt x="2232871" y="1482234"/>
                  <a:pt x="2207810" y="1667448"/>
                </a:cubicBezTo>
                <a:lnTo>
                  <a:pt x="2207810" y="1667448"/>
                </a:lnTo>
                <a:cubicBezTo>
                  <a:pt x="2092937" y="1677132"/>
                  <a:pt x="1861745" y="1684518"/>
                  <a:pt x="1700014" y="1667448"/>
                </a:cubicBezTo>
                <a:cubicBezTo>
                  <a:pt x="1538283" y="1650378"/>
                  <a:pt x="1314954" y="1662408"/>
                  <a:pt x="1192217" y="1667448"/>
                </a:cubicBezTo>
                <a:cubicBezTo>
                  <a:pt x="1069480" y="1672488"/>
                  <a:pt x="802169" y="1662406"/>
                  <a:pt x="640265" y="1667448"/>
                </a:cubicBezTo>
                <a:cubicBezTo>
                  <a:pt x="478361" y="1672490"/>
                  <a:pt x="242117" y="1661125"/>
                  <a:pt x="0" y="1667448"/>
                </a:cubicBezTo>
                <a:lnTo>
                  <a:pt x="0" y="1667448"/>
                </a:lnTo>
                <a:cubicBezTo>
                  <a:pt x="-10476" y="1401498"/>
                  <a:pt x="9186" y="1346955"/>
                  <a:pt x="0" y="1094958"/>
                </a:cubicBezTo>
                <a:cubicBezTo>
                  <a:pt x="-9186" y="842961"/>
                  <a:pt x="-3026" y="695119"/>
                  <a:pt x="0" y="572490"/>
                </a:cubicBezTo>
                <a:cubicBezTo>
                  <a:pt x="3026" y="449861"/>
                  <a:pt x="12102" y="208037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وضع آلية </a:t>
            </a:r>
            <a:r>
              <a:rPr kumimoji="0" lang="ar-SA" sz="1200" b="1" i="0" u="none" strike="noStrike" kern="1200" cap="none" spc="0" normalizeH="0" baseline="0" noProof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لتقديم الملاحظات والتعليقات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41" name="btfpBulletedList680341">
            <a:extLst>
              <a:ext uri="{FF2B5EF4-FFF2-40B4-BE49-F238E27FC236}">
                <a16:creationId xmlns:a16="http://schemas.microsoft.com/office/drawing/2014/main" id="{FF34CB27-9A3E-F727-3B16-BF4DE6FD82C0}"/>
              </a:ext>
            </a:extLst>
          </p:cNvPr>
          <p:cNvSpPr/>
          <p:nvPr/>
        </p:nvSpPr>
        <p:spPr bwMode="gray">
          <a:xfrm flipH="1">
            <a:off x="7282513" y="2169287"/>
            <a:ext cx="2194289" cy="1667448"/>
          </a:xfrm>
          <a:custGeom>
            <a:avLst/>
            <a:gdLst>
              <a:gd name="connsiteX0" fmla="*/ 0 w 2194289"/>
              <a:gd name="connsiteY0" fmla="*/ 0 h 1667448"/>
              <a:gd name="connsiteX1" fmla="*/ 0 w 2194289"/>
              <a:gd name="connsiteY1" fmla="*/ 0 h 1667448"/>
              <a:gd name="connsiteX2" fmla="*/ 504686 w 2194289"/>
              <a:gd name="connsiteY2" fmla="*/ 0 h 1667448"/>
              <a:gd name="connsiteX3" fmla="*/ 1009373 w 2194289"/>
              <a:gd name="connsiteY3" fmla="*/ 0 h 1667448"/>
              <a:gd name="connsiteX4" fmla="*/ 1492117 w 2194289"/>
              <a:gd name="connsiteY4" fmla="*/ 0 h 1667448"/>
              <a:gd name="connsiteX5" fmla="*/ 2194289 w 2194289"/>
              <a:gd name="connsiteY5" fmla="*/ 0 h 1667448"/>
              <a:gd name="connsiteX6" fmla="*/ 2194289 w 2194289"/>
              <a:gd name="connsiteY6" fmla="*/ 0 h 1667448"/>
              <a:gd name="connsiteX7" fmla="*/ 2194289 w 2194289"/>
              <a:gd name="connsiteY7" fmla="*/ 505793 h 1667448"/>
              <a:gd name="connsiteX8" fmla="*/ 2194289 w 2194289"/>
              <a:gd name="connsiteY8" fmla="*/ 1061609 h 1667448"/>
              <a:gd name="connsiteX9" fmla="*/ 2194289 w 2194289"/>
              <a:gd name="connsiteY9" fmla="*/ 1667448 h 1667448"/>
              <a:gd name="connsiteX10" fmla="*/ 2194289 w 2194289"/>
              <a:gd name="connsiteY10" fmla="*/ 1667448 h 1667448"/>
              <a:gd name="connsiteX11" fmla="*/ 1689603 w 2194289"/>
              <a:gd name="connsiteY11" fmla="*/ 1667448 h 1667448"/>
              <a:gd name="connsiteX12" fmla="*/ 1141030 w 2194289"/>
              <a:gd name="connsiteY12" fmla="*/ 1667448 h 1667448"/>
              <a:gd name="connsiteX13" fmla="*/ 636344 w 2194289"/>
              <a:gd name="connsiteY13" fmla="*/ 1667448 h 1667448"/>
              <a:gd name="connsiteX14" fmla="*/ 0 w 2194289"/>
              <a:gd name="connsiteY14" fmla="*/ 1667448 h 1667448"/>
              <a:gd name="connsiteX15" fmla="*/ 0 w 2194289"/>
              <a:gd name="connsiteY15" fmla="*/ 1667448 h 1667448"/>
              <a:gd name="connsiteX16" fmla="*/ 0 w 2194289"/>
              <a:gd name="connsiteY16" fmla="*/ 1161655 h 1667448"/>
              <a:gd name="connsiteX17" fmla="*/ 0 w 2194289"/>
              <a:gd name="connsiteY17" fmla="*/ 605839 h 1667448"/>
              <a:gd name="connsiteX18" fmla="*/ 0 w 2194289"/>
              <a:gd name="connsiteY18" fmla="*/ 0 h 16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194289" h="1667448" fill="none" extrusionOk="0">
                <a:moveTo>
                  <a:pt x="0" y="0"/>
                </a:moveTo>
                <a:lnTo>
                  <a:pt x="0" y="0"/>
                </a:lnTo>
                <a:cubicBezTo>
                  <a:pt x="129454" y="-18036"/>
                  <a:pt x="363601" y="6199"/>
                  <a:pt x="504686" y="0"/>
                </a:cubicBezTo>
                <a:cubicBezTo>
                  <a:pt x="645771" y="-6199"/>
                  <a:pt x="814912" y="12768"/>
                  <a:pt x="1009373" y="0"/>
                </a:cubicBezTo>
                <a:cubicBezTo>
                  <a:pt x="1203834" y="-12768"/>
                  <a:pt x="1383536" y="10167"/>
                  <a:pt x="1492117" y="0"/>
                </a:cubicBezTo>
                <a:cubicBezTo>
                  <a:pt x="1600698" y="-10167"/>
                  <a:pt x="2026419" y="9823"/>
                  <a:pt x="2194289" y="0"/>
                </a:cubicBezTo>
                <a:lnTo>
                  <a:pt x="2194289" y="0"/>
                </a:lnTo>
                <a:cubicBezTo>
                  <a:pt x="2212384" y="144182"/>
                  <a:pt x="2213214" y="293227"/>
                  <a:pt x="2194289" y="505793"/>
                </a:cubicBezTo>
                <a:cubicBezTo>
                  <a:pt x="2175364" y="718359"/>
                  <a:pt x="2199115" y="844356"/>
                  <a:pt x="2194289" y="1061609"/>
                </a:cubicBezTo>
                <a:cubicBezTo>
                  <a:pt x="2189463" y="1278862"/>
                  <a:pt x="2218879" y="1428038"/>
                  <a:pt x="2194289" y="1667448"/>
                </a:cubicBezTo>
                <a:lnTo>
                  <a:pt x="2194289" y="1667448"/>
                </a:lnTo>
                <a:cubicBezTo>
                  <a:pt x="1946935" y="1677803"/>
                  <a:pt x="1867862" y="1660495"/>
                  <a:pt x="1689603" y="1667448"/>
                </a:cubicBezTo>
                <a:cubicBezTo>
                  <a:pt x="1511344" y="1674401"/>
                  <a:pt x="1401831" y="1640685"/>
                  <a:pt x="1141030" y="1667448"/>
                </a:cubicBezTo>
                <a:cubicBezTo>
                  <a:pt x="880229" y="1694211"/>
                  <a:pt x="743487" y="1664745"/>
                  <a:pt x="636344" y="1667448"/>
                </a:cubicBezTo>
                <a:cubicBezTo>
                  <a:pt x="529201" y="1670151"/>
                  <a:pt x="292352" y="1683869"/>
                  <a:pt x="0" y="1667448"/>
                </a:cubicBezTo>
                <a:lnTo>
                  <a:pt x="0" y="1667448"/>
                </a:lnTo>
                <a:cubicBezTo>
                  <a:pt x="-2677" y="1437476"/>
                  <a:pt x="-6269" y="1308338"/>
                  <a:pt x="0" y="1161655"/>
                </a:cubicBezTo>
                <a:cubicBezTo>
                  <a:pt x="6269" y="1014972"/>
                  <a:pt x="-11164" y="821908"/>
                  <a:pt x="0" y="605839"/>
                </a:cubicBezTo>
                <a:cubicBezTo>
                  <a:pt x="11164" y="389770"/>
                  <a:pt x="27829" y="147490"/>
                  <a:pt x="0" y="0"/>
                </a:cubicBezTo>
                <a:close/>
              </a:path>
              <a:path w="2194289" h="1667448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79263" y="230373"/>
                  <a:pt x="2210299" y="469951"/>
                  <a:pt x="2194289" y="589165"/>
                </a:cubicBezTo>
                <a:cubicBezTo>
                  <a:pt x="2178279" y="708379"/>
                  <a:pt x="2208103" y="1025334"/>
                  <a:pt x="2194289" y="1144981"/>
                </a:cubicBezTo>
                <a:cubicBezTo>
                  <a:pt x="2180475" y="1264628"/>
                  <a:pt x="2219350" y="1482234"/>
                  <a:pt x="2194289" y="1667448"/>
                </a:cubicBezTo>
                <a:lnTo>
                  <a:pt x="2194289" y="1667448"/>
                </a:lnTo>
                <a:cubicBezTo>
                  <a:pt x="1980689" y="1691460"/>
                  <a:pt x="1934591" y="1691239"/>
                  <a:pt x="1689603" y="1667448"/>
                </a:cubicBezTo>
                <a:cubicBezTo>
                  <a:pt x="1444615" y="1643657"/>
                  <a:pt x="1309809" y="1665491"/>
                  <a:pt x="1184916" y="1667448"/>
                </a:cubicBezTo>
                <a:cubicBezTo>
                  <a:pt x="1060023" y="1669405"/>
                  <a:pt x="890996" y="1656484"/>
                  <a:pt x="636344" y="1667448"/>
                </a:cubicBezTo>
                <a:cubicBezTo>
                  <a:pt x="381692" y="1678412"/>
                  <a:pt x="284230" y="1655792"/>
                  <a:pt x="0" y="1667448"/>
                </a:cubicBezTo>
                <a:lnTo>
                  <a:pt x="0" y="1667448"/>
                </a:lnTo>
                <a:cubicBezTo>
                  <a:pt x="-10476" y="1401498"/>
                  <a:pt x="9186" y="1346955"/>
                  <a:pt x="0" y="1094958"/>
                </a:cubicBezTo>
                <a:cubicBezTo>
                  <a:pt x="-9186" y="842961"/>
                  <a:pt x="-3026" y="695119"/>
                  <a:pt x="0" y="572490"/>
                </a:cubicBezTo>
                <a:cubicBezTo>
                  <a:pt x="3026" y="449861"/>
                  <a:pt x="12102" y="208037"/>
                  <a:pt x="0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FA9D06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إشراك المنظومة ذات الصلة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A9D06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45" name="btfpBulletedList680341">
            <a:extLst>
              <a:ext uri="{FF2B5EF4-FFF2-40B4-BE49-F238E27FC236}">
                <a16:creationId xmlns:a16="http://schemas.microsoft.com/office/drawing/2014/main" id="{DC65933A-0C20-ADB7-47AC-3DF710E8E99E}"/>
              </a:ext>
            </a:extLst>
          </p:cNvPr>
          <p:cNvSpPr/>
          <p:nvPr/>
        </p:nvSpPr>
        <p:spPr bwMode="gray">
          <a:xfrm flipH="1">
            <a:off x="2746593" y="3912935"/>
            <a:ext cx="2194289" cy="2279650"/>
          </a:xfrm>
          <a:custGeom>
            <a:avLst/>
            <a:gdLst>
              <a:gd name="connsiteX0" fmla="*/ 0 w 2194289"/>
              <a:gd name="connsiteY0" fmla="*/ 0 h 2279650"/>
              <a:gd name="connsiteX1" fmla="*/ 0 w 2194289"/>
              <a:gd name="connsiteY1" fmla="*/ 0 h 2279650"/>
              <a:gd name="connsiteX2" fmla="*/ 548572 w 2194289"/>
              <a:gd name="connsiteY2" fmla="*/ 0 h 2279650"/>
              <a:gd name="connsiteX3" fmla="*/ 1119087 w 2194289"/>
              <a:gd name="connsiteY3" fmla="*/ 0 h 2279650"/>
              <a:gd name="connsiteX4" fmla="*/ 1601831 w 2194289"/>
              <a:gd name="connsiteY4" fmla="*/ 0 h 2279650"/>
              <a:gd name="connsiteX5" fmla="*/ 2194289 w 2194289"/>
              <a:gd name="connsiteY5" fmla="*/ 0 h 2279650"/>
              <a:gd name="connsiteX6" fmla="*/ 2194289 w 2194289"/>
              <a:gd name="connsiteY6" fmla="*/ 0 h 2279650"/>
              <a:gd name="connsiteX7" fmla="*/ 2194289 w 2194289"/>
              <a:gd name="connsiteY7" fmla="*/ 592709 h 2279650"/>
              <a:gd name="connsiteX8" fmla="*/ 2194289 w 2194289"/>
              <a:gd name="connsiteY8" fmla="*/ 1117029 h 2279650"/>
              <a:gd name="connsiteX9" fmla="*/ 2194289 w 2194289"/>
              <a:gd name="connsiteY9" fmla="*/ 1686941 h 2279650"/>
              <a:gd name="connsiteX10" fmla="*/ 2194289 w 2194289"/>
              <a:gd name="connsiteY10" fmla="*/ 2279650 h 2279650"/>
              <a:gd name="connsiteX11" fmla="*/ 2194289 w 2194289"/>
              <a:gd name="connsiteY11" fmla="*/ 2279650 h 2279650"/>
              <a:gd name="connsiteX12" fmla="*/ 1711545 w 2194289"/>
              <a:gd name="connsiteY12" fmla="*/ 2279650 h 2279650"/>
              <a:gd name="connsiteX13" fmla="*/ 1141030 w 2194289"/>
              <a:gd name="connsiteY13" fmla="*/ 2279650 h 2279650"/>
              <a:gd name="connsiteX14" fmla="*/ 636344 w 2194289"/>
              <a:gd name="connsiteY14" fmla="*/ 2279650 h 2279650"/>
              <a:gd name="connsiteX15" fmla="*/ 0 w 2194289"/>
              <a:gd name="connsiteY15" fmla="*/ 2279650 h 2279650"/>
              <a:gd name="connsiteX16" fmla="*/ 0 w 2194289"/>
              <a:gd name="connsiteY16" fmla="*/ 2279650 h 2279650"/>
              <a:gd name="connsiteX17" fmla="*/ 0 w 2194289"/>
              <a:gd name="connsiteY17" fmla="*/ 1732534 h 2279650"/>
              <a:gd name="connsiteX18" fmla="*/ 0 w 2194289"/>
              <a:gd name="connsiteY18" fmla="*/ 1162622 h 2279650"/>
              <a:gd name="connsiteX19" fmla="*/ 0 w 2194289"/>
              <a:gd name="connsiteY19" fmla="*/ 569913 h 2279650"/>
              <a:gd name="connsiteX20" fmla="*/ 0 w 2194289"/>
              <a:gd name="connsiteY20" fmla="*/ 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279650" fill="none" extrusionOk="0">
                <a:moveTo>
                  <a:pt x="0" y="0"/>
                </a:moveTo>
                <a:lnTo>
                  <a:pt x="0" y="0"/>
                </a:lnTo>
                <a:cubicBezTo>
                  <a:pt x="198269" y="10325"/>
                  <a:pt x="349070" y="22412"/>
                  <a:pt x="548572" y="0"/>
                </a:cubicBezTo>
                <a:cubicBezTo>
                  <a:pt x="748074" y="-22412"/>
                  <a:pt x="919621" y="15861"/>
                  <a:pt x="1119087" y="0"/>
                </a:cubicBezTo>
                <a:cubicBezTo>
                  <a:pt x="1318554" y="-15861"/>
                  <a:pt x="1436970" y="-1695"/>
                  <a:pt x="1601831" y="0"/>
                </a:cubicBezTo>
                <a:cubicBezTo>
                  <a:pt x="1766692" y="1695"/>
                  <a:pt x="1976161" y="-3448"/>
                  <a:pt x="2194289" y="0"/>
                </a:cubicBezTo>
                <a:lnTo>
                  <a:pt x="2194289" y="0"/>
                </a:lnTo>
                <a:cubicBezTo>
                  <a:pt x="2211145" y="215389"/>
                  <a:pt x="2186332" y="449888"/>
                  <a:pt x="2194289" y="592709"/>
                </a:cubicBezTo>
                <a:cubicBezTo>
                  <a:pt x="2202246" y="735530"/>
                  <a:pt x="2209616" y="861896"/>
                  <a:pt x="2194289" y="1117029"/>
                </a:cubicBezTo>
                <a:cubicBezTo>
                  <a:pt x="2178962" y="1372162"/>
                  <a:pt x="2197649" y="1488074"/>
                  <a:pt x="2194289" y="1686941"/>
                </a:cubicBezTo>
                <a:cubicBezTo>
                  <a:pt x="2190929" y="1885808"/>
                  <a:pt x="2198564" y="2040776"/>
                  <a:pt x="2194289" y="2279650"/>
                </a:cubicBezTo>
                <a:lnTo>
                  <a:pt x="2194289" y="2279650"/>
                </a:lnTo>
                <a:cubicBezTo>
                  <a:pt x="2059714" y="2303417"/>
                  <a:pt x="1811859" y="2279496"/>
                  <a:pt x="1711545" y="2279650"/>
                </a:cubicBezTo>
                <a:cubicBezTo>
                  <a:pt x="1611231" y="2279804"/>
                  <a:pt x="1277135" y="2267378"/>
                  <a:pt x="1141030" y="2279650"/>
                </a:cubicBezTo>
                <a:cubicBezTo>
                  <a:pt x="1004926" y="2291922"/>
                  <a:pt x="807732" y="2289531"/>
                  <a:pt x="636344" y="2279650"/>
                </a:cubicBezTo>
                <a:cubicBezTo>
                  <a:pt x="464956" y="2269769"/>
                  <a:pt x="295489" y="2279780"/>
                  <a:pt x="0" y="2279650"/>
                </a:cubicBezTo>
                <a:lnTo>
                  <a:pt x="0" y="2279650"/>
                </a:lnTo>
                <a:cubicBezTo>
                  <a:pt x="-6556" y="2139205"/>
                  <a:pt x="-9411" y="1950860"/>
                  <a:pt x="0" y="1732534"/>
                </a:cubicBezTo>
                <a:cubicBezTo>
                  <a:pt x="9411" y="1514208"/>
                  <a:pt x="-22183" y="1285762"/>
                  <a:pt x="0" y="1162622"/>
                </a:cubicBezTo>
                <a:cubicBezTo>
                  <a:pt x="22183" y="1039482"/>
                  <a:pt x="-23036" y="749736"/>
                  <a:pt x="0" y="569913"/>
                </a:cubicBezTo>
                <a:cubicBezTo>
                  <a:pt x="23036" y="390090"/>
                  <a:pt x="26782" y="260368"/>
                  <a:pt x="0" y="0"/>
                </a:cubicBezTo>
                <a:close/>
              </a:path>
              <a:path w="2194289" h="2279650" stroke="0" extrusionOk="0">
                <a:moveTo>
                  <a:pt x="0" y="0"/>
                </a:moveTo>
                <a:lnTo>
                  <a:pt x="0" y="0"/>
                </a:lnTo>
                <a:cubicBezTo>
                  <a:pt x="209310" y="15961"/>
                  <a:pt x="320829" y="-2080"/>
                  <a:pt x="526629" y="0"/>
                </a:cubicBezTo>
                <a:cubicBezTo>
                  <a:pt x="732429" y="2080"/>
                  <a:pt x="871900" y="18581"/>
                  <a:pt x="1009373" y="0"/>
                </a:cubicBezTo>
                <a:cubicBezTo>
                  <a:pt x="1146846" y="-18581"/>
                  <a:pt x="1337901" y="27966"/>
                  <a:pt x="1601831" y="0"/>
                </a:cubicBezTo>
                <a:cubicBezTo>
                  <a:pt x="1865761" y="-27966"/>
                  <a:pt x="1988004" y="-4054"/>
                  <a:pt x="2194289" y="0"/>
                </a:cubicBezTo>
                <a:lnTo>
                  <a:pt x="2194289" y="0"/>
                </a:lnTo>
                <a:cubicBezTo>
                  <a:pt x="2179844" y="233996"/>
                  <a:pt x="2199319" y="302745"/>
                  <a:pt x="2194289" y="547116"/>
                </a:cubicBezTo>
                <a:cubicBezTo>
                  <a:pt x="2189259" y="791487"/>
                  <a:pt x="2192064" y="824855"/>
                  <a:pt x="2194289" y="1071436"/>
                </a:cubicBezTo>
                <a:cubicBezTo>
                  <a:pt x="2196514" y="1318017"/>
                  <a:pt x="2190565" y="1421881"/>
                  <a:pt x="2194289" y="1641348"/>
                </a:cubicBezTo>
                <a:cubicBezTo>
                  <a:pt x="2198013" y="1860815"/>
                  <a:pt x="2221081" y="2124854"/>
                  <a:pt x="2194289" y="2279650"/>
                </a:cubicBezTo>
                <a:lnTo>
                  <a:pt x="2194289" y="2279650"/>
                </a:lnTo>
                <a:cubicBezTo>
                  <a:pt x="2067001" y="2260541"/>
                  <a:pt x="1880315" y="2304853"/>
                  <a:pt x="1689603" y="2279650"/>
                </a:cubicBezTo>
                <a:cubicBezTo>
                  <a:pt x="1498891" y="2254447"/>
                  <a:pt x="1319579" y="2301717"/>
                  <a:pt x="1141030" y="2279650"/>
                </a:cubicBezTo>
                <a:cubicBezTo>
                  <a:pt x="962481" y="2257583"/>
                  <a:pt x="846945" y="2271987"/>
                  <a:pt x="592458" y="2279650"/>
                </a:cubicBezTo>
                <a:cubicBezTo>
                  <a:pt x="337971" y="2287313"/>
                  <a:pt x="279174" y="2282921"/>
                  <a:pt x="0" y="2279650"/>
                </a:cubicBezTo>
                <a:lnTo>
                  <a:pt x="0" y="2279650"/>
                </a:lnTo>
                <a:cubicBezTo>
                  <a:pt x="24841" y="2100459"/>
                  <a:pt x="-9980" y="1964321"/>
                  <a:pt x="0" y="1664145"/>
                </a:cubicBezTo>
                <a:cubicBezTo>
                  <a:pt x="9980" y="1363969"/>
                  <a:pt x="-10914" y="1339530"/>
                  <a:pt x="0" y="1048639"/>
                </a:cubicBezTo>
                <a:cubicBezTo>
                  <a:pt x="10914" y="757748"/>
                  <a:pt x="1277" y="349742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219033472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دليل على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الآليات المعمول بها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لضمان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المراجعة المستمرة وتحديث المناهج الدراسية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(على سبيل المثال،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إنشاء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لجنة لمراجعة المناهج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تتألف من خبراء القطاع وأعضاء هيئة التدريس الأكاديميين والعاملين في مجال تنمية الطفولة المبكرة)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  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47" name="btfpBulletedList680341">
            <a:extLst>
              <a:ext uri="{FF2B5EF4-FFF2-40B4-BE49-F238E27FC236}">
                <a16:creationId xmlns:a16="http://schemas.microsoft.com/office/drawing/2014/main" id="{7E7F1F2F-62B5-6BFE-DB53-354DA03AB20F}"/>
              </a:ext>
            </a:extLst>
          </p:cNvPr>
          <p:cNvSpPr/>
          <p:nvPr/>
        </p:nvSpPr>
        <p:spPr bwMode="gray">
          <a:xfrm flipH="1">
            <a:off x="5017934" y="3912935"/>
            <a:ext cx="2194289" cy="2279650"/>
          </a:xfrm>
          <a:custGeom>
            <a:avLst/>
            <a:gdLst>
              <a:gd name="connsiteX0" fmla="*/ 0 w 2194289"/>
              <a:gd name="connsiteY0" fmla="*/ 0 h 2279650"/>
              <a:gd name="connsiteX1" fmla="*/ 0 w 2194289"/>
              <a:gd name="connsiteY1" fmla="*/ 0 h 2279650"/>
              <a:gd name="connsiteX2" fmla="*/ 570515 w 2194289"/>
              <a:gd name="connsiteY2" fmla="*/ 0 h 2279650"/>
              <a:gd name="connsiteX3" fmla="*/ 1141030 w 2194289"/>
              <a:gd name="connsiteY3" fmla="*/ 0 h 2279650"/>
              <a:gd name="connsiteX4" fmla="*/ 1623774 w 2194289"/>
              <a:gd name="connsiteY4" fmla="*/ 0 h 2279650"/>
              <a:gd name="connsiteX5" fmla="*/ 2194289 w 2194289"/>
              <a:gd name="connsiteY5" fmla="*/ 0 h 2279650"/>
              <a:gd name="connsiteX6" fmla="*/ 2194289 w 2194289"/>
              <a:gd name="connsiteY6" fmla="*/ 0 h 2279650"/>
              <a:gd name="connsiteX7" fmla="*/ 2194289 w 2194289"/>
              <a:gd name="connsiteY7" fmla="*/ 501523 h 2279650"/>
              <a:gd name="connsiteX8" fmla="*/ 2194289 w 2194289"/>
              <a:gd name="connsiteY8" fmla="*/ 1025843 h 2279650"/>
              <a:gd name="connsiteX9" fmla="*/ 2194289 w 2194289"/>
              <a:gd name="connsiteY9" fmla="*/ 1550162 h 2279650"/>
              <a:gd name="connsiteX10" fmla="*/ 2194289 w 2194289"/>
              <a:gd name="connsiteY10" fmla="*/ 2279650 h 2279650"/>
              <a:gd name="connsiteX11" fmla="*/ 2194289 w 2194289"/>
              <a:gd name="connsiteY11" fmla="*/ 2279650 h 2279650"/>
              <a:gd name="connsiteX12" fmla="*/ 1711545 w 2194289"/>
              <a:gd name="connsiteY12" fmla="*/ 2279650 h 2279650"/>
              <a:gd name="connsiteX13" fmla="*/ 1228802 w 2194289"/>
              <a:gd name="connsiteY13" fmla="*/ 2279650 h 2279650"/>
              <a:gd name="connsiteX14" fmla="*/ 724115 w 2194289"/>
              <a:gd name="connsiteY14" fmla="*/ 2279650 h 2279650"/>
              <a:gd name="connsiteX15" fmla="*/ 0 w 2194289"/>
              <a:gd name="connsiteY15" fmla="*/ 2279650 h 2279650"/>
              <a:gd name="connsiteX16" fmla="*/ 0 w 2194289"/>
              <a:gd name="connsiteY16" fmla="*/ 2279650 h 2279650"/>
              <a:gd name="connsiteX17" fmla="*/ 0 w 2194289"/>
              <a:gd name="connsiteY17" fmla="*/ 1709738 h 2279650"/>
              <a:gd name="connsiteX18" fmla="*/ 0 w 2194289"/>
              <a:gd name="connsiteY18" fmla="*/ 1094232 h 2279650"/>
              <a:gd name="connsiteX19" fmla="*/ 0 w 2194289"/>
              <a:gd name="connsiteY19" fmla="*/ 547116 h 2279650"/>
              <a:gd name="connsiteX20" fmla="*/ 0 w 2194289"/>
              <a:gd name="connsiteY20" fmla="*/ 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279650" fill="none" extrusionOk="0">
                <a:moveTo>
                  <a:pt x="0" y="0"/>
                </a:moveTo>
                <a:lnTo>
                  <a:pt x="0" y="0"/>
                </a:lnTo>
                <a:cubicBezTo>
                  <a:pt x="230937" y="8407"/>
                  <a:pt x="406312" y="27438"/>
                  <a:pt x="570515" y="0"/>
                </a:cubicBezTo>
                <a:cubicBezTo>
                  <a:pt x="734719" y="-27438"/>
                  <a:pt x="928016" y="-20452"/>
                  <a:pt x="1141030" y="0"/>
                </a:cubicBezTo>
                <a:cubicBezTo>
                  <a:pt x="1354045" y="20452"/>
                  <a:pt x="1511899" y="15893"/>
                  <a:pt x="1623774" y="0"/>
                </a:cubicBezTo>
                <a:cubicBezTo>
                  <a:pt x="1735649" y="-15893"/>
                  <a:pt x="2079475" y="28364"/>
                  <a:pt x="2194289" y="0"/>
                </a:cubicBezTo>
                <a:lnTo>
                  <a:pt x="2194289" y="0"/>
                </a:lnTo>
                <a:cubicBezTo>
                  <a:pt x="2195826" y="237928"/>
                  <a:pt x="2175357" y="360742"/>
                  <a:pt x="2194289" y="501523"/>
                </a:cubicBezTo>
                <a:cubicBezTo>
                  <a:pt x="2213221" y="642304"/>
                  <a:pt x="2212506" y="821947"/>
                  <a:pt x="2194289" y="1025843"/>
                </a:cubicBezTo>
                <a:cubicBezTo>
                  <a:pt x="2176072" y="1229739"/>
                  <a:pt x="2191577" y="1341093"/>
                  <a:pt x="2194289" y="1550162"/>
                </a:cubicBezTo>
                <a:cubicBezTo>
                  <a:pt x="2197001" y="1759231"/>
                  <a:pt x="2189328" y="1945463"/>
                  <a:pt x="2194289" y="2279650"/>
                </a:cubicBezTo>
                <a:lnTo>
                  <a:pt x="2194289" y="2279650"/>
                </a:lnTo>
                <a:cubicBezTo>
                  <a:pt x="1983609" y="2291024"/>
                  <a:pt x="1834360" y="2277607"/>
                  <a:pt x="1711545" y="2279650"/>
                </a:cubicBezTo>
                <a:cubicBezTo>
                  <a:pt x="1588730" y="2281693"/>
                  <a:pt x="1341277" y="2266084"/>
                  <a:pt x="1228802" y="2279650"/>
                </a:cubicBezTo>
                <a:cubicBezTo>
                  <a:pt x="1116327" y="2293216"/>
                  <a:pt x="871361" y="2265991"/>
                  <a:pt x="724115" y="2279650"/>
                </a:cubicBezTo>
                <a:cubicBezTo>
                  <a:pt x="576869" y="2293309"/>
                  <a:pt x="330861" y="2272375"/>
                  <a:pt x="0" y="2279650"/>
                </a:cubicBezTo>
                <a:lnTo>
                  <a:pt x="0" y="2279650"/>
                </a:lnTo>
                <a:cubicBezTo>
                  <a:pt x="-20832" y="2150478"/>
                  <a:pt x="26603" y="1956677"/>
                  <a:pt x="0" y="1709738"/>
                </a:cubicBezTo>
                <a:cubicBezTo>
                  <a:pt x="-26603" y="1462799"/>
                  <a:pt x="-2351" y="1249325"/>
                  <a:pt x="0" y="1094232"/>
                </a:cubicBezTo>
                <a:cubicBezTo>
                  <a:pt x="2351" y="939139"/>
                  <a:pt x="-18374" y="726837"/>
                  <a:pt x="0" y="547116"/>
                </a:cubicBezTo>
                <a:cubicBezTo>
                  <a:pt x="18374" y="367395"/>
                  <a:pt x="9956" y="216087"/>
                  <a:pt x="0" y="0"/>
                </a:cubicBezTo>
                <a:close/>
              </a:path>
              <a:path w="2194289" h="2279650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91140" y="235775"/>
                  <a:pt x="2206158" y="335439"/>
                  <a:pt x="2194289" y="615506"/>
                </a:cubicBezTo>
                <a:cubicBezTo>
                  <a:pt x="2182420" y="895573"/>
                  <a:pt x="2185991" y="917689"/>
                  <a:pt x="2194289" y="1185418"/>
                </a:cubicBezTo>
                <a:cubicBezTo>
                  <a:pt x="2202587" y="1453147"/>
                  <a:pt x="2167455" y="1554836"/>
                  <a:pt x="2194289" y="1732534"/>
                </a:cubicBezTo>
                <a:cubicBezTo>
                  <a:pt x="2221123" y="1910232"/>
                  <a:pt x="2200390" y="2082419"/>
                  <a:pt x="2194289" y="2279650"/>
                </a:cubicBezTo>
                <a:lnTo>
                  <a:pt x="2194289" y="2279650"/>
                </a:lnTo>
                <a:cubicBezTo>
                  <a:pt x="1945012" y="2296661"/>
                  <a:pt x="1807149" y="2277318"/>
                  <a:pt x="1689603" y="2279650"/>
                </a:cubicBezTo>
                <a:cubicBezTo>
                  <a:pt x="1572057" y="2281982"/>
                  <a:pt x="1399917" y="2274795"/>
                  <a:pt x="1141030" y="2279650"/>
                </a:cubicBezTo>
                <a:cubicBezTo>
                  <a:pt x="882143" y="2284505"/>
                  <a:pt x="839693" y="2290250"/>
                  <a:pt x="592458" y="2279650"/>
                </a:cubicBezTo>
                <a:cubicBezTo>
                  <a:pt x="345223" y="2269050"/>
                  <a:pt x="153546" y="2254456"/>
                  <a:pt x="0" y="2279650"/>
                </a:cubicBezTo>
                <a:lnTo>
                  <a:pt x="0" y="2279650"/>
                </a:lnTo>
                <a:cubicBezTo>
                  <a:pt x="-16718" y="2064681"/>
                  <a:pt x="6957" y="1925744"/>
                  <a:pt x="0" y="1686941"/>
                </a:cubicBezTo>
                <a:cubicBezTo>
                  <a:pt x="-6957" y="1448138"/>
                  <a:pt x="11071" y="1278256"/>
                  <a:pt x="0" y="1071436"/>
                </a:cubicBezTo>
                <a:cubicBezTo>
                  <a:pt x="-11071" y="864616"/>
                  <a:pt x="-12821" y="716468"/>
                  <a:pt x="0" y="547116"/>
                </a:cubicBezTo>
                <a:cubicBezTo>
                  <a:pt x="12821" y="377764"/>
                  <a:pt x="-9218" y="227137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دليل على أن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غالبية الموظفين الذين يقدمون التدريبات يمتلكون الخبرة والمؤهلات ذات الصلة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(مثل الشهادات الجامعية، والشهادات التي حصلوا عليها، وما إلى ذلك)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94" name="btfpBulletedList680341">
            <a:extLst>
              <a:ext uri="{FF2B5EF4-FFF2-40B4-BE49-F238E27FC236}">
                <a16:creationId xmlns:a16="http://schemas.microsoft.com/office/drawing/2014/main" id="{D712B2B9-132E-FB32-871F-1F64AD2E2F7B}"/>
              </a:ext>
            </a:extLst>
          </p:cNvPr>
          <p:cNvSpPr/>
          <p:nvPr/>
        </p:nvSpPr>
        <p:spPr bwMode="gray">
          <a:xfrm flipH="1">
            <a:off x="9547093" y="3912935"/>
            <a:ext cx="2194289" cy="2279650"/>
          </a:xfrm>
          <a:custGeom>
            <a:avLst/>
            <a:gdLst>
              <a:gd name="connsiteX0" fmla="*/ 0 w 2194289"/>
              <a:gd name="connsiteY0" fmla="*/ 0 h 2279650"/>
              <a:gd name="connsiteX1" fmla="*/ 0 w 2194289"/>
              <a:gd name="connsiteY1" fmla="*/ 0 h 2279650"/>
              <a:gd name="connsiteX2" fmla="*/ 482744 w 2194289"/>
              <a:gd name="connsiteY2" fmla="*/ 0 h 2279650"/>
              <a:gd name="connsiteX3" fmla="*/ 1075202 w 2194289"/>
              <a:gd name="connsiteY3" fmla="*/ 0 h 2279650"/>
              <a:gd name="connsiteX4" fmla="*/ 1623774 w 2194289"/>
              <a:gd name="connsiteY4" fmla="*/ 0 h 2279650"/>
              <a:gd name="connsiteX5" fmla="*/ 2194289 w 2194289"/>
              <a:gd name="connsiteY5" fmla="*/ 0 h 2279650"/>
              <a:gd name="connsiteX6" fmla="*/ 2194289 w 2194289"/>
              <a:gd name="connsiteY6" fmla="*/ 0 h 2279650"/>
              <a:gd name="connsiteX7" fmla="*/ 2194289 w 2194289"/>
              <a:gd name="connsiteY7" fmla="*/ 547116 h 2279650"/>
              <a:gd name="connsiteX8" fmla="*/ 2194289 w 2194289"/>
              <a:gd name="connsiteY8" fmla="*/ 1094232 h 2279650"/>
              <a:gd name="connsiteX9" fmla="*/ 2194289 w 2194289"/>
              <a:gd name="connsiteY9" fmla="*/ 1664145 h 2279650"/>
              <a:gd name="connsiteX10" fmla="*/ 2194289 w 2194289"/>
              <a:gd name="connsiteY10" fmla="*/ 2279650 h 2279650"/>
              <a:gd name="connsiteX11" fmla="*/ 2194289 w 2194289"/>
              <a:gd name="connsiteY11" fmla="*/ 2279650 h 2279650"/>
              <a:gd name="connsiteX12" fmla="*/ 1645717 w 2194289"/>
              <a:gd name="connsiteY12" fmla="*/ 2279650 h 2279650"/>
              <a:gd name="connsiteX13" fmla="*/ 1162973 w 2194289"/>
              <a:gd name="connsiteY13" fmla="*/ 2279650 h 2279650"/>
              <a:gd name="connsiteX14" fmla="*/ 680230 w 2194289"/>
              <a:gd name="connsiteY14" fmla="*/ 2279650 h 2279650"/>
              <a:gd name="connsiteX15" fmla="*/ 0 w 2194289"/>
              <a:gd name="connsiteY15" fmla="*/ 2279650 h 2279650"/>
              <a:gd name="connsiteX16" fmla="*/ 0 w 2194289"/>
              <a:gd name="connsiteY16" fmla="*/ 2279650 h 2279650"/>
              <a:gd name="connsiteX17" fmla="*/ 0 w 2194289"/>
              <a:gd name="connsiteY17" fmla="*/ 1755331 h 2279650"/>
              <a:gd name="connsiteX18" fmla="*/ 0 w 2194289"/>
              <a:gd name="connsiteY18" fmla="*/ 1185418 h 2279650"/>
              <a:gd name="connsiteX19" fmla="*/ 0 w 2194289"/>
              <a:gd name="connsiteY19" fmla="*/ 615506 h 2279650"/>
              <a:gd name="connsiteX20" fmla="*/ 0 w 2194289"/>
              <a:gd name="connsiteY20" fmla="*/ 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279650" fill="none" extrusionOk="0">
                <a:moveTo>
                  <a:pt x="0" y="0"/>
                </a:moveTo>
                <a:lnTo>
                  <a:pt x="0" y="0"/>
                </a:lnTo>
                <a:cubicBezTo>
                  <a:pt x="210491" y="-1780"/>
                  <a:pt x="326903" y="-20780"/>
                  <a:pt x="482744" y="0"/>
                </a:cubicBezTo>
                <a:cubicBezTo>
                  <a:pt x="638585" y="20780"/>
                  <a:pt x="893763" y="-428"/>
                  <a:pt x="1075202" y="0"/>
                </a:cubicBezTo>
                <a:cubicBezTo>
                  <a:pt x="1256641" y="428"/>
                  <a:pt x="1455106" y="515"/>
                  <a:pt x="1623774" y="0"/>
                </a:cubicBezTo>
                <a:cubicBezTo>
                  <a:pt x="1792442" y="-515"/>
                  <a:pt x="2034977" y="-2099"/>
                  <a:pt x="2194289" y="0"/>
                </a:cubicBezTo>
                <a:lnTo>
                  <a:pt x="2194289" y="0"/>
                </a:lnTo>
                <a:cubicBezTo>
                  <a:pt x="2185686" y="197673"/>
                  <a:pt x="2220994" y="425975"/>
                  <a:pt x="2194289" y="547116"/>
                </a:cubicBezTo>
                <a:cubicBezTo>
                  <a:pt x="2167584" y="668257"/>
                  <a:pt x="2221189" y="896980"/>
                  <a:pt x="2194289" y="1094232"/>
                </a:cubicBezTo>
                <a:cubicBezTo>
                  <a:pt x="2167389" y="1291484"/>
                  <a:pt x="2182169" y="1411495"/>
                  <a:pt x="2194289" y="1664145"/>
                </a:cubicBezTo>
                <a:cubicBezTo>
                  <a:pt x="2206409" y="1916795"/>
                  <a:pt x="2205292" y="2141436"/>
                  <a:pt x="2194289" y="2279650"/>
                </a:cubicBezTo>
                <a:lnTo>
                  <a:pt x="2194289" y="2279650"/>
                </a:lnTo>
                <a:cubicBezTo>
                  <a:pt x="2033326" y="2287246"/>
                  <a:pt x="1847456" y="2266159"/>
                  <a:pt x="1645717" y="2279650"/>
                </a:cubicBezTo>
                <a:cubicBezTo>
                  <a:pt x="1443978" y="2293141"/>
                  <a:pt x="1331769" y="2261178"/>
                  <a:pt x="1162973" y="2279650"/>
                </a:cubicBezTo>
                <a:cubicBezTo>
                  <a:pt x="994177" y="2298122"/>
                  <a:pt x="836077" y="2285770"/>
                  <a:pt x="680230" y="2279650"/>
                </a:cubicBezTo>
                <a:cubicBezTo>
                  <a:pt x="524383" y="2273530"/>
                  <a:pt x="184598" y="2278815"/>
                  <a:pt x="0" y="2279650"/>
                </a:cubicBezTo>
                <a:lnTo>
                  <a:pt x="0" y="2279650"/>
                </a:lnTo>
                <a:cubicBezTo>
                  <a:pt x="7652" y="2142910"/>
                  <a:pt x="16832" y="1899028"/>
                  <a:pt x="0" y="1755331"/>
                </a:cubicBezTo>
                <a:cubicBezTo>
                  <a:pt x="-16832" y="1611634"/>
                  <a:pt x="-19547" y="1464947"/>
                  <a:pt x="0" y="1185418"/>
                </a:cubicBezTo>
                <a:cubicBezTo>
                  <a:pt x="19547" y="905889"/>
                  <a:pt x="27929" y="873673"/>
                  <a:pt x="0" y="615506"/>
                </a:cubicBezTo>
                <a:cubicBezTo>
                  <a:pt x="-27929" y="357339"/>
                  <a:pt x="21005" y="241951"/>
                  <a:pt x="0" y="0"/>
                </a:cubicBezTo>
                <a:close/>
              </a:path>
              <a:path w="2194289" h="2279650" stroke="0" extrusionOk="0">
                <a:moveTo>
                  <a:pt x="0" y="0"/>
                </a:moveTo>
                <a:lnTo>
                  <a:pt x="0" y="0"/>
                </a:lnTo>
                <a:cubicBezTo>
                  <a:pt x="168168" y="-16490"/>
                  <a:pt x="308165" y="15585"/>
                  <a:pt x="504686" y="0"/>
                </a:cubicBezTo>
                <a:cubicBezTo>
                  <a:pt x="701207" y="-15585"/>
                  <a:pt x="810929" y="26960"/>
                  <a:pt x="1053259" y="0"/>
                </a:cubicBezTo>
                <a:cubicBezTo>
                  <a:pt x="1295589" y="-26960"/>
                  <a:pt x="1383147" y="-4245"/>
                  <a:pt x="1601831" y="0"/>
                </a:cubicBezTo>
                <a:cubicBezTo>
                  <a:pt x="1820515" y="4245"/>
                  <a:pt x="2047995" y="4598"/>
                  <a:pt x="2194289" y="0"/>
                </a:cubicBezTo>
                <a:lnTo>
                  <a:pt x="2194289" y="0"/>
                </a:lnTo>
                <a:cubicBezTo>
                  <a:pt x="2197767" y="217997"/>
                  <a:pt x="2207545" y="274382"/>
                  <a:pt x="2194289" y="501523"/>
                </a:cubicBezTo>
                <a:cubicBezTo>
                  <a:pt x="2181033" y="728664"/>
                  <a:pt x="2213111" y="820556"/>
                  <a:pt x="2194289" y="1094232"/>
                </a:cubicBezTo>
                <a:cubicBezTo>
                  <a:pt x="2175467" y="1367908"/>
                  <a:pt x="2192789" y="1480603"/>
                  <a:pt x="2194289" y="1709738"/>
                </a:cubicBezTo>
                <a:cubicBezTo>
                  <a:pt x="2195789" y="1938873"/>
                  <a:pt x="2202200" y="2002246"/>
                  <a:pt x="2194289" y="2279650"/>
                </a:cubicBezTo>
                <a:lnTo>
                  <a:pt x="2194289" y="2279650"/>
                </a:lnTo>
                <a:cubicBezTo>
                  <a:pt x="2015977" y="2280610"/>
                  <a:pt x="1795601" y="2269846"/>
                  <a:pt x="1645717" y="2279650"/>
                </a:cubicBezTo>
                <a:cubicBezTo>
                  <a:pt x="1495833" y="2289454"/>
                  <a:pt x="1251292" y="2304733"/>
                  <a:pt x="1075202" y="2279650"/>
                </a:cubicBezTo>
                <a:cubicBezTo>
                  <a:pt x="899113" y="2254567"/>
                  <a:pt x="698028" y="2271962"/>
                  <a:pt x="482744" y="2279650"/>
                </a:cubicBezTo>
                <a:cubicBezTo>
                  <a:pt x="267460" y="2287338"/>
                  <a:pt x="129224" y="2278397"/>
                  <a:pt x="0" y="2279650"/>
                </a:cubicBezTo>
                <a:lnTo>
                  <a:pt x="0" y="2279650"/>
                </a:lnTo>
                <a:cubicBezTo>
                  <a:pt x="8177" y="2125387"/>
                  <a:pt x="2150" y="1890989"/>
                  <a:pt x="0" y="1732534"/>
                </a:cubicBezTo>
                <a:cubicBezTo>
                  <a:pt x="-2150" y="1574079"/>
                  <a:pt x="-20694" y="1398602"/>
                  <a:pt x="0" y="1231011"/>
                </a:cubicBezTo>
                <a:cubicBezTo>
                  <a:pt x="20694" y="1063420"/>
                  <a:pt x="-2817" y="941995"/>
                  <a:pt x="0" y="729488"/>
                </a:cubicBezTo>
                <a:cubicBezTo>
                  <a:pt x="2817" y="516981"/>
                  <a:pt x="-35559" y="318605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1616015675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توثيق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واضح لكيفية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المواءمة بين نتائج تعلم البرنامج وقائمة تضم 29 من كفاءات تنمية الطفولة المبكرة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حددتها هيئة أبوظبي للطفولة المبكرة، إضافة إلى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دليل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على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كيفية تجسيد وتضمين نتائج التعلم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هذه في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المناهج الدراسية التي يتم تدريسها وطرق التقييم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95" name="btfpBulletedList680341">
            <a:extLst>
              <a:ext uri="{FF2B5EF4-FFF2-40B4-BE49-F238E27FC236}">
                <a16:creationId xmlns:a16="http://schemas.microsoft.com/office/drawing/2014/main" id="{34050321-C072-DC82-1FCB-867BF1E63EA9}"/>
              </a:ext>
            </a:extLst>
          </p:cNvPr>
          <p:cNvSpPr/>
          <p:nvPr/>
        </p:nvSpPr>
        <p:spPr bwMode="gray">
          <a:xfrm flipH="1">
            <a:off x="468490" y="3912935"/>
            <a:ext cx="2194289" cy="2279650"/>
          </a:xfrm>
          <a:custGeom>
            <a:avLst/>
            <a:gdLst>
              <a:gd name="connsiteX0" fmla="*/ 0 w 2194289"/>
              <a:gd name="connsiteY0" fmla="*/ 0 h 2279650"/>
              <a:gd name="connsiteX1" fmla="*/ 0 w 2194289"/>
              <a:gd name="connsiteY1" fmla="*/ 0 h 2279650"/>
              <a:gd name="connsiteX2" fmla="*/ 570515 w 2194289"/>
              <a:gd name="connsiteY2" fmla="*/ 0 h 2279650"/>
              <a:gd name="connsiteX3" fmla="*/ 1141030 w 2194289"/>
              <a:gd name="connsiteY3" fmla="*/ 0 h 2279650"/>
              <a:gd name="connsiteX4" fmla="*/ 1623774 w 2194289"/>
              <a:gd name="connsiteY4" fmla="*/ 0 h 2279650"/>
              <a:gd name="connsiteX5" fmla="*/ 2194289 w 2194289"/>
              <a:gd name="connsiteY5" fmla="*/ 0 h 2279650"/>
              <a:gd name="connsiteX6" fmla="*/ 2194289 w 2194289"/>
              <a:gd name="connsiteY6" fmla="*/ 0 h 2279650"/>
              <a:gd name="connsiteX7" fmla="*/ 2194289 w 2194289"/>
              <a:gd name="connsiteY7" fmla="*/ 501523 h 2279650"/>
              <a:gd name="connsiteX8" fmla="*/ 2194289 w 2194289"/>
              <a:gd name="connsiteY8" fmla="*/ 1025843 h 2279650"/>
              <a:gd name="connsiteX9" fmla="*/ 2194289 w 2194289"/>
              <a:gd name="connsiteY9" fmla="*/ 1550162 h 2279650"/>
              <a:gd name="connsiteX10" fmla="*/ 2194289 w 2194289"/>
              <a:gd name="connsiteY10" fmla="*/ 2279650 h 2279650"/>
              <a:gd name="connsiteX11" fmla="*/ 2194289 w 2194289"/>
              <a:gd name="connsiteY11" fmla="*/ 2279650 h 2279650"/>
              <a:gd name="connsiteX12" fmla="*/ 1711545 w 2194289"/>
              <a:gd name="connsiteY12" fmla="*/ 2279650 h 2279650"/>
              <a:gd name="connsiteX13" fmla="*/ 1228802 w 2194289"/>
              <a:gd name="connsiteY13" fmla="*/ 2279650 h 2279650"/>
              <a:gd name="connsiteX14" fmla="*/ 724115 w 2194289"/>
              <a:gd name="connsiteY14" fmla="*/ 2279650 h 2279650"/>
              <a:gd name="connsiteX15" fmla="*/ 0 w 2194289"/>
              <a:gd name="connsiteY15" fmla="*/ 2279650 h 2279650"/>
              <a:gd name="connsiteX16" fmla="*/ 0 w 2194289"/>
              <a:gd name="connsiteY16" fmla="*/ 2279650 h 2279650"/>
              <a:gd name="connsiteX17" fmla="*/ 0 w 2194289"/>
              <a:gd name="connsiteY17" fmla="*/ 1709738 h 2279650"/>
              <a:gd name="connsiteX18" fmla="*/ 0 w 2194289"/>
              <a:gd name="connsiteY18" fmla="*/ 1094232 h 2279650"/>
              <a:gd name="connsiteX19" fmla="*/ 0 w 2194289"/>
              <a:gd name="connsiteY19" fmla="*/ 547116 h 2279650"/>
              <a:gd name="connsiteX20" fmla="*/ 0 w 2194289"/>
              <a:gd name="connsiteY20" fmla="*/ 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279650" fill="none" extrusionOk="0">
                <a:moveTo>
                  <a:pt x="0" y="0"/>
                </a:moveTo>
                <a:lnTo>
                  <a:pt x="0" y="0"/>
                </a:lnTo>
                <a:cubicBezTo>
                  <a:pt x="230937" y="8407"/>
                  <a:pt x="406312" y="27438"/>
                  <a:pt x="570515" y="0"/>
                </a:cubicBezTo>
                <a:cubicBezTo>
                  <a:pt x="734719" y="-27438"/>
                  <a:pt x="928016" y="-20452"/>
                  <a:pt x="1141030" y="0"/>
                </a:cubicBezTo>
                <a:cubicBezTo>
                  <a:pt x="1354045" y="20452"/>
                  <a:pt x="1511899" y="15893"/>
                  <a:pt x="1623774" y="0"/>
                </a:cubicBezTo>
                <a:cubicBezTo>
                  <a:pt x="1735649" y="-15893"/>
                  <a:pt x="2079475" y="28364"/>
                  <a:pt x="2194289" y="0"/>
                </a:cubicBezTo>
                <a:lnTo>
                  <a:pt x="2194289" y="0"/>
                </a:lnTo>
                <a:cubicBezTo>
                  <a:pt x="2195826" y="237928"/>
                  <a:pt x="2175357" y="360742"/>
                  <a:pt x="2194289" y="501523"/>
                </a:cubicBezTo>
                <a:cubicBezTo>
                  <a:pt x="2213221" y="642304"/>
                  <a:pt x="2212506" y="821947"/>
                  <a:pt x="2194289" y="1025843"/>
                </a:cubicBezTo>
                <a:cubicBezTo>
                  <a:pt x="2176072" y="1229739"/>
                  <a:pt x="2191577" y="1341093"/>
                  <a:pt x="2194289" y="1550162"/>
                </a:cubicBezTo>
                <a:cubicBezTo>
                  <a:pt x="2197001" y="1759231"/>
                  <a:pt x="2189328" y="1945463"/>
                  <a:pt x="2194289" y="2279650"/>
                </a:cubicBezTo>
                <a:lnTo>
                  <a:pt x="2194289" y="2279650"/>
                </a:lnTo>
                <a:cubicBezTo>
                  <a:pt x="1983609" y="2291024"/>
                  <a:pt x="1834360" y="2277607"/>
                  <a:pt x="1711545" y="2279650"/>
                </a:cubicBezTo>
                <a:cubicBezTo>
                  <a:pt x="1588730" y="2281693"/>
                  <a:pt x="1341277" y="2266084"/>
                  <a:pt x="1228802" y="2279650"/>
                </a:cubicBezTo>
                <a:cubicBezTo>
                  <a:pt x="1116327" y="2293216"/>
                  <a:pt x="871361" y="2265991"/>
                  <a:pt x="724115" y="2279650"/>
                </a:cubicBezTo>
                <a:cubicBezTo>
                  <a:pt x="576869" y="2293309"/>
                  <a:pt x="330861" y="2272375"/>
                  <a:pt x="0" y="2279650"/>
                </a:cubicBezTo>
                <a:lnTo>
                  <a:pt x="0" y="2279650"/>
                </a:lnTo>
                <a:cubicBezTo>
                  <a:pt x="-20832" y="2150478"/>
                  <a:pt x="26603" y="1956677"/>
                  <a:pt x="0" y="1709738"/>
                </a:cubicBezTo>
                <a:cubicBezTo>
                  <a:pt x="-26603" y="1462799"/>
                  <a:pt x="-2351" y="1249325"/>
                  <a:pt x="0" y="1094232"/>
                </a:cubicBezTo>
                <a:cubicBezTo>
                  <a:pt x="2351" y="939139"/>
                  <a:pt x="-18374" y="726837"/>
                  <a:pt x="0" y="547116"/>
                </a:cubicBezTo>
                <a:cubicBezTo>
                  <a:pt x="18374" y="367395"/>
                  <a:pt x="9956" y="216087"/>
                  <a:pt x="0" y="0"/>
                </a:cubicBezTo>
                <a:close/>
              </a:path>
              <a:path w="2194289" h="2279650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91140" y="235775"/>
                  <a:pt x="2206158" y="335439"/>
                  <a:pt x="2194289" y="615506"/>
                </a:cubicBezTo>
                <a:cubicBezTo>
                  <a:pt x="2182420" y="895573"/>
                  <a:pt x="2185991" y="917689"/>
                  <a:pt x="2194289" y="1185418"/>
                </a:cubicBezTo>
                <a:cubicBezTo>
                  <a:pt x="2202587" y="1453147"/>
                  <a:pt x="2167455" y="1554836"/>
                  <a:pt x="2194289" y="1732534"/>
                </a:cubicBezTo>
                <a:cubicBezTo>
                  <a:pt x="2221123" y="1910232"/>
                  <a:pt x="2200390" y="2082419"/>
                  <a:pt x="2194289" y="2279650"/>
                </a:cubicBezTo>
                <a:lnTo>
                  <a:pt x="2194289" y="2279650"/>
                </a:lnTo>
                <a:cubicBezTo>
                  <a:pt x="1945012" y="2296661"/>
                  <a:pt x="1807149" y="2277318"/>
                  <a:pt x="1689603" y="2279650"/>
                </a:cubicBezTo>
                <a:cubicBezTo>
                  <a:pt x="1572057" y="2281982"/>
                  <a:pt x="1399917" y="2274795"/>
                  <a:pt x="1141030" y="2279650"/>
                </a:cubicBezTo>
                <a:cubicBezTo>
                  <a:pt x="882143" y="2284505"/>
                  <a:pt x="839693" y="2290250"/>
                  <a:pt x="592458" y="2279650"/>
                </a:cubicBezTo>
                <a:cubicBezTo>
                  <a:pt x="345223" y="2269050"/>
                  <a:pt x="153546" y="2254456"/>
                  <a:pt x="0" y="2279650"/>
                </a:cubicBezTo>
                <a:lnTo>
                  <a:pt x="0" y="2279650"/>
                </a:lnTo>
                <a:cubicBezTo>
                  <a:pt x="-16718" y="2064681"/>
                  <a:pt x="6957" y="1925744"/>
                  <a:pt x="0" y="1686941"/>
                </a:cubicBezTo>
                <a:cubicBezTo>
                  <a:pt x="-6957" y="1448138"/>
                  <a:pt x="11071" y="1278256"/>
                  <a:pt x="0" y="1071436"/>
                </a:cubicBezTo>
                <a:cubicBezTo>
                  <a:pt x="-11071" y="864616"/>
                  <a:pt x="-12821" y="716468"/>
                  <a:pt x="0" y="547116"/>
                </a:cubicBezTo>
                <a:cubicBezTo>
                  <a:pt x="12821" y="377764"/>
                  <a:pt x="-9218" y="227137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دليل على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وجود آلية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للمتدربين لتقديم ملاحظاتهم حول فاعلية البرنامج (على سبيل المثال، الاستبيانات) إلى جانب وجود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عملية واضحة لجمع وتضمين الملاحظات والتعليقات الواردة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sp>
        <p:nvSpPr>
          <p:cNvPr id="96" name="btfpBulletedList680341">
            <a:extLst>
              <a:ext uri="{FF2B5EF4-FFF2-40B4-BE49-F238E27FC236}">
                <a16:creationId xmlns:a16="http://schemas.microsoft.com/office/drawing/2014/main" id="{8B4DFE0B-1E81-B412-2D0E-F5337A736EFE}"/>
              </a:ext>
            </a:extLst>
          </p:cNvPr>
          <p:cNvSpPr/>
          <p:nvPr/>
        </p:nvSpPr>
        <p:spPr bwMode="gray">
          <a:xfrm flipH="1">
            <a:off x="7282513" y="3912935"/>
            <a:ext cx="2194289" cy="2279650"/>
          </a:xfrm>
          <a:custGeom>
            <a:avLst/>
            <a:gdLst>
              <a:gd name="connsiteX0" fmla="*/ 0 w 2194289"/>
              <a:gd name="connsiteY0" fmla="*/ 0 h 2279650"/>
              <a:gd name="connsiteX1" fmla="*/ 0 w 2194289"/>
              <a:gd name="connsiteY1" fmla="*/ 0 h 2279650"/>
              <a:gd name="connsiteX2" fmla="*/ 570515 w 2194289"/>
              <a:gd name="connsiteY2" fmla="*/ 0 h 2279650"/>
              <a:gd name="connsiteX3" fmla="*/ 1141030 w 2194289"/>
              <a:gd name="connsiteY3" fmla="*/ 0 h 2279650"/>
              <a:gd name="connsiteX4" fmla="*/ 1623774 w 2194289"/>
              <a:gd name="connsiteY4" fmla="*/ 0 h 2279650"/>
              <a:gd name="connsiteX5" fmla="*/ 2194289 w 2194289"/>
              <a:gd name="connsiteY5" fmla="*/ 0 h 2279650"/>
              <a:gd name="connsiteX6" fmla="*/ 2194289 w 2194289"/>
              <a:gd name="connsiteY6" fmla="*/ 0 h 2279650"/>
              <a:gd name="connsiteX7" fmla="*/ 2194289 w 2194289"/>
              <a:gd name="connsiteY7" fmla="*/ 501523 h 2279650"/>
              <a:gd name="connsiteX8" fmla="*/ 2194289 w 2194289"/>
              <a:gd name="connsiteY8" fmla="*/ 1025843 h 2279650"/>
              <a:gd name="connsiteX9" fmla="*/ 2194289 w 2194289"/>
              <a:gd name="connsiteY9" fmla="*/ 1550162 h 2279650"/>
              <a:gd name="connsiteX10" fmla="*/ 2194289 w 2194289"/>
              <a:gd name="connsiteY10" fmla="*/ 2279650 h 2279650"/>
              <a:gd name="connsiteX11" fmla="*/ 2194289 w 2194289"/>
              <a:gd name="connsiteY11" fmla="*/ 2279650 h 2279650"/>
              <a:gd name="connsiteX12" fmla="*/ 1711545 w 2194289"/>
              <a:gd name="connsiteY12" fmla="*/ 2279650 h 2279650"/>
              <a:gd name="connsiteX13" fmla="*/ 1228802 w 2194289"/>
              <a:gd name="connsiteY13" fmla="*/ 2279650 h 2279650"/>
              <a:gd name="connsiteX14" fmla="*/ 724115 w 2194289"/>
              <a:gd name="connsiteY14" fmla="*/ 2279650 h 2279650"/>
              <a:gd name="connsiteX15" fmla="*/ 0 w 2194289"/>
              <a:gd name="connsiteY15" fmla="*/ 2279650 h 2279650"/>
              <a:gd name="connsiteX16" fmla="*/ 0 w 2194289"/>
              <a:gd name="connsiteY16" fmla="*/ 2279650 h 2279650"/>
              <a:gd name="connsiteX17" fmla="*/ 0 w 2194289"/>
              <a:gd name="connsiteY17" fmla="*/ 1709738 h 2279650"/>
              <a:gd name="connsiteX18" fmla="*/ 0 w 2194289"/>
              <a:gd name="connsiteY18" fmla="*/ 1094232 h 2279650"/>
              <a:gd name="connsiteX19" fmla="*/ 0 w 2194289"/>
              <a:gd name="connsiteY19" fmla="*/ 547116 h 2279650"/>
              <a:gd name="connsiteX20" fmla="*/ 0 w 2194289"/>
              <a:gd name="connsiteY20" fmla="*/ 0 h 227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194289" h="2279650" fill="none" extrusionOk="0">
                <a:moveTo>
                  <a:pt x="0" y="0"/>
                </a:moveTo>
                <a:lnTo>
                  <a:pt x="0" y="0"/>
                </a:lnTo>
                <a:cubicBezTo>
                  <a:pt x="230937" y="8407"/>
                  <a:pt x="406312" y="27438"/>
                  <a:pt x="570515" y="0"/>
                </a:cubicBezTo>
                <a:cubicBezTo>
                  <a:pt x="734719" y="-27438"/>
                  <a:pt x="928016" y="-20452"/>
                  <a:pt x="1141030" y="0"/>
                </a:cubicBezTo>
                <a:cubicBezTo>
                  <a:pt x="1354045" y="20452"/>
                  <a:pt x="1511899" y="15893"/>
                  <a:pt x="1623774" y="0"/>
                </a:cubicBezTo>
                <a:cubicBezTo>
                  <a:pt x="1735649" y="-15893"/>
                  <a:pt x="2079475" y="28364"/>
                  <a:pt x="2194289" y="0"/>
                </a:cubicBezTo>
                <a:lnTo>
                  <a:pt x="2194289" y="0"/>
                </a:lnTo>
                <a:cubicBezTo>
                  <a:pt x="2195826" y="237928"/>
                  <a:pt x="2175357" y="360742"/>
                  <a:pt x="2194289" y="501523"/>
                </a:cubicBezTo>
                <a:cubicBezTo>
                  <a:pt x="2213221" y="642304"/>
                  <a:pt x="2212506" y="821947"/>
                  <a:pt x="2194289" y="1025843"/>
                </a:cubicBezTo>
                <a:cubicBezTo>
                  <a:pt x="2176072" y="1229739"/>
                  <a:pt x="2191577" y="1341093"/>
                  <a:pt x="2194289" y="1550162"/>
                </a:cubicBezTo>
                <a:cubicBezTo>
                  <a:pt x="2197001" y="1759231"/>
                  <a:pt x="2189328" y="1945463"/>
                  <a:pt x="2194289" y="2279650"/>
                </a:cubicBezTo>
                <a:lnTo>
                  <a:pt x="2194289" y="2279650"/>
                </a:lnTo>
                <a:cubicBezTo>
                  <a:pt x="1983609" y="2291024"/>
                  <a:pt x="1834360" y="2277607"/>
                  <a:pt x="1711545" y="2279650"/>
                </a:cubicBezTo>
                <a:cubicBezTo>
                  <a:pt x="1588730" y="2281693"/>
                  <a:pt x="1341277" y="2266084"/>
                  <a:pt x="1228802" y="2279650"/>
                </a:cubicBezTo>
                <a:cubicBezTo>
                  <a:pt x="1116327" y="2293216"/>
                  <a:pt x="871361" y="2265991"/>
                  <a:pt x="724115" y="2279650"/>
                </a:cubicBezTo>
                <a:cubicBezTo>
                  <a:pt x="576869" y="2293309"/>
                  <a:pt x="330861" y="2272375"/>
                  <a:pt x="0" y="2279650"/>
                </a:cubicBezTo>
                <a:lnTo>
                  <a:pt x="0" y="2279650"/>
                </a:lnTo>
                <a:cubicBezTo>
                  <a:pt x="-20832" y="2150478"/>
                  <a:pt x="26603" y="1956677"/>
                  <a:pt x="0" y="1709738"/>
                </a:cubicBezTo>
                <a:cubicBezTo>
                  <a:pt x="-26603" y="1462799"/>
                  <a:pt x="-2351" y="1249325"/>
                  <a:pt x="0" y="1094232"/>
                </a:cubicBezTo>
                <a:cubicBezTo>
                  <a:pt x="2351" y="939139"/>
                  <a:pt x="-18374" y="726837"/>
                  <a:pt x="0" y="547116"/>
                </a:cubicBezTo>
                <a:cubicBezTo>
                  <a:pt x="18374" y="367395"/>
                  <a:pt x="9956" y="216087"/>
                  <a:pt x="0" y="0"/>
                </a:cubicBezTo>
                <a:close/>
              </a:path>
              <a:path w="2194289" h="2279650" stroke="0" extrusionOk="0">
                <a:moveTo>
                  <a:pt x="0" y="0"/>
                </a:moveTo>
                <a:lnTo>
                  <a:pt x="0" y="0"/>
                </a:lnTo>
                <a:cubicBezTo>
                  <a:pt x="125475" y="19804"/>
                  <a:pt x="326524" y="18359"/>
                  <a:pt x="482744" y="0"/>
                </a:cubicBezTo>
                <a:cubicBezTo>
                  <a:pt x="638964" y="-18359"/>
                  <a:pt x="773202" y="-7884"/>
                  <a:pt x="987430" y="0"/>
                </a:cubicBezTo>
                <a:cubicBezTo>
                  <a:pt x="1201658" y="7884"/>
                  <a:pt x="1337769" y="-13396"/>
                  <a:pt x="1557945" y="0"/>
                </a:cubicBezTo>
                <a:cubicBezTo>
                  <a:pt x="1778122" y="13396"/>
                  <a:pt x="2057052" y="-6993"/>
                  <a:pt x="2194289" y="0"/>
                </a:cubicBezTo>
                <a:lnTo>
                  <a:pt x="2194289" y="0"/>
                </a:lnTo>
                <a:cubicBezTo>
                  <a:pt x="2191140" y="235775"/>
                  <a:pt x="2206158" y="335439"/>
                  <a:pt x="2194289" y="615506"/>
                </a:cubicBezTo>
                <a:cubicBezTo>
                  <a:pt x="2182420" y="895573"/>
                  <a:pt x="2185991" y="917689"/>
                  <a:pt x="2194289" y="1185418"/>
                </a:cubicBezTo>
                <a:cubicBezTo>
                  <a:pt x="2202587" y="1453147"/>
                  <a:pt x="2167455" y="1554836"/>
                  <a:pt x="2194289" y="1732534"/>
                </a:cubicBezTo>
                <a:cubicBezTo>
                  <a:pt x="2221123" y="1910232"/>
                  <a:pt x="2200390" y="2082419"/>
                  <a:pt x="2194289" y="2279650"/>
                </a:cubicBezTo>
                <a:lnTo>
                  <a:pt x="2194289" y="2279650"/>
                </a:lnTo>
                <a:cubicBezTo>
                  <a:pt x="1945012" y="2296661"/>
                  <a:pt x="1807149" y="2277318"/>
                  <a:pt x="1689603" y="2279650"/>
                </a:cubicBezTo>
                <a:cubicBezTo>
                  <a:pt x="1572057" y="2281982"/>
                  <a:pt x="1399917" y="2274795"/>
                  <a:pt x="1141030" y="2279650"/>
                </a:cubicBezTo>
                <a:cubicBezTo>
                  <a:pt x="882143" y="2284505"/>
                  <a:pt x="839693" y="2290250"/>
                  <a:pt x="592458" y="2279650"/>
                </a:cubicBezTo>
                <a:cubicBezTo>
                  <a:pt x="345223" y="2269050"/>
                  <a:pt x="153546" y="2254456"/>
                  <a:pt x="0" y="2279650"/>
                </a:cubicBezTo>
                <a:lnTo>
                  <a:pt x="0" y="2279650"/>
                </a:lnTo>
                <a:cubicBezTo>
                  <a:pt x="-16718" y="2064681"/>
                  <a:pt x="6957" y="1925744"/>
                  <a:pt x="0" y="1686941"/>
                </a:cubicBezTo>
                <a:cubicBezTo>
                  <a:pt x="-6957" y="1448138"/>
                  <a:pt x="11071" y="1278256"/>
                  <a:pt x="0" y="1071436"/>
                </a:cubicBezTo>
                <a:cubicBezTo>
                  <a:pt x="-11071" y="864616"/>
                  <a:pt x="-12821" y="716468"/>
                  <a:pt x="0" y="547116"/>
                </a:cubicBezTo>
                <a:cubicBezTo>
                  <a:pt x="12821" y="377764"/>
                  <a:pt x="-9218" y="227137"/>
                  <a:pt x="0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chemeClr val="accent5"/>
            </a:solidFill>
            <a:extLst>
              <a:ext uri="{C807C97D-BFC1-408E-A445-0C87EB9F89A2}">
                <ask:lineSketchStyleProps xmlns:ask="http://schemas.microsoft.com/office/drawing/2018/sketchyshapes" sd="2551422784">
                  <a:prstGeom prst="roundRect">
                    <a:avLst>
                      <a:gd name="adj" fmla="val 0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711200" rtl="1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سجلات واضحة لإشراك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المنظومة ذات الصلة، بما في ذلك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أصحاب العمل والجهات التنظيمية في القطاع والجامعات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وكذلك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العاملين </a:t>
            </a:r>
            <a:r>
              <a:rPr kumimoji="0" lang="a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لضمان تلبية نتائج تعلم البرنامج </a:t>
            </a:r>
            <a:r>
              <a:rPr kumimoji="0" lang="ar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rPr>
              <a:t>لمتطلبات سوق العمل بشكل مباشر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kkal Majalla" panose="02000000000000000000" pitchFamily="2" charset="-78"/>
              <a:ea typeface="+mn-ea"/>
              <a:cs typeface="Sakkal Majalla" panose="02000000000000000000" pitchFamily="2" charset="-78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2439DA51-69AC-D5A8-4D72-85904AB5D9DF}"/>
              </a:ext>
            </a:extLst>
          </p:cNvPr>
          <p:cNvGrpSpPr/>
          <p:nvPr/>
        </p:nvGrpSpPr>
        <p:grpSpPr>
          <a:xfrm flipH="1">
            <a:off x="11307058" y="2245487"/>
            <a:ext cx="354949" cy="368560"/>
            <a:chOff x="5496117" y="3550077"/>
            <a:chExt cx="545040" cy="612746"/>
          </a:xfrm>
          <a:solidFill>
            <a:schemeClr val="accent2"/>
          </a:solidFill>
        </p:grpSpPr>
        <p:sp>
          <p:nvSpPr>
            <p:cNvPr id="1032" name="object 25">
              <a:extLst>
                <a:ext uri="{FF2B5EF4-FFF2-40B4-BE49-F238E27FC236}">
                  <a16:creationId xmlns:a16="http://schemas.microsoft.com/office/drawing/2014/main" id="{4BFF3A65-AC1B-9359-E2EF-8FF930B30E8E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 rot="1964504">
              <a:off x="5496117" y="3550077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51321" y="132356"/>
                    <a:pt x="128559" y="-39827"/>
                    <a:pt x="272520" y="0"/>
                  </a:cubicBezTo>
                  <a:cubicBezTo>
                    <a:pt x="413619" y="4588"/>
                    <a:pt x="539756" y="127442"/>
                    <a:pt x="545040" y="283144"/>
                  </a:cubicBezTo>
                  <a:cubicBezTo>
                    <a:pt x="545171" y="423144"/>
                    <a:pt x="410419" y="575314"/>
                    <a:pt x="272520" y="566288"/>
                  </a:cubicBezTo>
                  <a:cubicBezTo>
                    <a:pt x="188901" y="578839"/>
                    <a:pt x="35922" y="435445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-36164" y="128886"/>
                    <a:pt x="158889" y="12111"/>
                    <a:pt x="272520" y="0"/>
                  </a:cubicBezTo>
                  <a:cubicBezTo>
                    <a:pt x="443201" y="35890"/>
                    <a:pt x="532952" y="119320"/>
                    <a:pt x="545040" y="283144"/>
                  </a:cubicBezTo>
                  <a:cubicBezTo>
                    <a:pt x="566344" y="457328"/>
                    <a:pt x="434494" y="543010"/>
                    <a:pt x="272520" y="566288"/>
                  </a:cubicBezTo>
                  <a:cubicBezTo>
                    <a:pt x="148381" y="539205"/>
                    <a:pt x="23252" y="400873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-13368" y="116600"/>
                    <a:pt x="78424" y="11826"/>
                    <a:pt x="272520" y="0"/>
                  </a:cubicBezTo>
                  <a:cubicBezTo>
                    <a:pt x="460120" y="13347"/>
                    <a:pt x="505269" y="125466"/>
                    <a:pt x="545040" y="283144"/>
                  </a:cubicBezTo>
                  <a:cubicBezTo>
                    <a:pt x="535813" y="460014"/>
                    <a:pt x="413968" y="587889"/>
                    <a:pt x="272520" y="566288"/>
                  </a:cubicBezTo>
                  <a:cubicBezTo>
                    <a:pt x="145314" y="554482"/>
                    <a:pt x="49761" y="443531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33" name="Rectangle 1032">
              <a:extLst>
                <a:ext uri="{FF2B5EF4-FFF2-40B4-BE49-F238E27FC236}">
                  <a16:creationId xmlns:a16="http://schemas.microsoft.com/office/drawing/2014/main" id="{80BB23F2-5239-E3AD-103D-039BBD76B052}"/>
                </a:ext>
              </a:extLst>
            </p:cNvPr>
            <p:cNvSpPr/>
            <p:nvPr/>
          </p:nvSpPr>
          <p:spPr bwMode="gray">
            <a:xfrm>
              <a:off x="5676844" y="3581429"/>
              <a:ext cx="186516" cy="581394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rPr>
                <a:t>1</a:t>
              </a: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1B1D29C9-BAED-FBAB-9ED3-464FE61672B9}"/>
              </a:ext>
            </a:extLst>
          </p:cNvPr>
          <p:cNvGrpSpPr/>
          <p:nvPr/>
        </p:nvGrpSpPr>
        <p:grpSpPr>
          <a:xfrm flipH="1">
            <a:off x="9042478" y="2245485"/>
            <a:ext cx="354949" cy="368556"/>
            <a:chOff x="6888230" y="3635804"/>
            <a:chExt cx="545040" cy="612740"/>
          </a:xfrm>
          <a:solidFill>
            <a:schemeClr val="accent2"/>
          </a:solidFill>
        </p:grpSpPr>
        <p:sp>
          <p:nvSpPr>
            <p:cNvPr id="1030" name="object 25">
              <a:extLst>
                <a:ext uri="{FF2B5EF4-FFF2-40B4-BE49-F238E27FC236}">
                  <a16:creationId xmlns:a16="http://schemas.microsoft.com/office/drawing/2014/main" id="{9581176B-561C-EE79-3241-65C5C7A3D26D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 rot="1964504">
              <a:off x="6888230" y="3635804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-26061" y="114968"/>
                    <a:pt x="117382" y="2239"/>
                    <a:pt x="272520" y="0"/>
                  </a:cubicBezTo>
                  <a:cubicBezTo>
                    <a:pt x="440187" y="-3001"/>
                    <a:pt x="584229" y="128111"/>
                    <a:pt x="545040" y="283144"/>
                  </a:cubicBezTo>
                  <a:cubicBezTo>
                    <a:pt x="568947" y="468121"/>
                    <a:pt x="399526" y="545468"/>
                    <a:pt x="272520" y="566288"/>
                  </a:cubicBezTo>
                  <a:cubicBezTo>
                    <a:pt x="119341" y="527449"/>
                    <a:pt x="40918" y="446894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2634" y="115028"/>
                    <a:pt x="104960" y="-10411"/>
                    <a:pt x="272520" y="0"/>
                  </a:cubicBezTo>
                  <a:cubicBezTo>
                    <a:pt x="421995" y="-3601"/>
                    <a:pt x="493342" y="90087"/>
                    <a:pt x="545040" y="283144"/>
                  </a:cubicBezTo>
                  <a:cubicBezTo>
                    <a:pt x="536357" y="427688"/>
                    <a:pt x="471532" y="516313"/>
                    <a:pt x="272520" y="566288"/>
                  </a:cubicBezTo>
                  <a:cubicBezTo>
                    <a:pt x="141712" y="550451"/>
                    <a:pt x="18896" y="430803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3204" y="130210"/>
                    <a:pt x="88477" y="-27337"/>
                    <a:pt x="272520" y="0"/>
                  </a:cubicBezTo>
                  <a:cubicBezTo>
                    <a:pt x="409017" y="9711"/>
                    <a:pt x="533036" y="162065"/>
                    <a:pt x="545040" y="283144"/>
                  </a:cubicBezTo>
                  <a:cubicBezTo>
                    <a:pt x="541434" y="466778"/>
                    <a:pt x="445361" y="582949"/>
                    <a:pt x="272520" y="566288"/>
                  </a:cubicBezTo>
                  <a:cubicBezTo>
                    <a:pt x="140498" y="593441"/>
                    <a:pt x="6404" y="437839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2214188587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31" name="Rectangle 1030">
              <a:extLst>
                <a:ext uri="{FF2B5EF4-FFF2-40B4-BE49-F238E27FC236}">
                  <a16:creationId xmlns:a16="http://schemas.microsoft.com/office/drawing/2014/main" id="{C5F57F25-CFA1-462E-13D9-6410AE31716C}"/>
                </a:ext>
              </a:extLst>
            </p:cNvPr>
            <p:cNvSpPr/>
            <p:nvPr/>
          </p:nvSpPr>
          <p:spPr bwMode="gray">
            <a:xfrm>
              <a:off x="7067491" y="3667150"/>
              <a:ext cx="186516" cy="581394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rPr>
                <a:t>2</a:t>
              </a: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9E965CFF-EA23-1456-4C65-BE3FFCDA1D58}"/>
              </a:ext>
            </a:extLst>
          </p:cNvPr>
          <p:cNvGrpSpPr/>
          <p:nvPr/>
        </p:nvGrpSpPr>
        <p:grpSpPr>
          <a:xfrm flipH="1">
            <a:off x="6777898" y="2245487"/>
            <a:ext cx="354949" cy="368560"/>
            <a:chOff x="8318886" y="3550077"/>
            <a:chExt cx="545040" cy="612746"/>
          </a:xfrm>
          <a:solidFill>
            <a:schemeClr val="accent2"/>
          </a:solidFill>
        </p:grpSpPr>
        <p:sp>
          <p:nvSpPr>
            <p:cNvPr id="125" name="object 25">
              <a:extLst>
                <a:ext uri="{FF2B5EF4-FFF2-40B4-BE49-F238E27FC236}">
                  <a16:creationId xmlns:a16="http://schemas.microsoft.com/office/drawing/2014/main" id="{6E5D3503-F392-C67E-6EED-25F5384D9F57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 rot="1964504">
              <a:off x="8318886" y="3550077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7168" y="120235"/>
                    <a:pt x="65086" y="17856"/>
                    <a:pt x="272520" y="0"/>
                  </a:cubicBezTo>
                  <a:cubicBezTo>
                    <a:pt x="474045" y="-1135"/>
                    <a:pt x="529508" y="130574"/>
                    <a:pt x="545040" y="283144"/>
                  </a:cubicBezTo>
                  <a:cubicBezTo>
                    <a:pt x="529445" y="462150"/>
                    <a:pt x="394838" y="598551"/>
                    <a:pt x="272520" y="566288"/>
                  </a:cubicBezTo>
                  <a:cubicBezTo>
                    <a:pt x="165798" y="539876"/>
                    <a:pt x="-4744" y="440887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4421" y="164421"/>
                    <a:pt x="121193" y="-6399"/>
                    <a:pt x="272520" y="0"/>
                  </a:cubicBezTo>
                  <a:cubicBezTo>
                    <a:pt x="437319" y="8634"/>
                    <a:pt x="525973" y="97365"/>
                    <a:pt x="545040" y="283144"/>
                  </a:cubicBezTo>
                  <a:cubicBezTo>
                    <a:pt x="545221" y="430368"/>
                    <a:pt x="455928" y="529044"/>
                    <a:pt x="272520" y="566288"/>
                  </a:cubicBezTo>
                  <a:cubicBezTo>
                    <a:pt x="170236" y="549392"/>
                    <a:pt x="19819" y="430275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2960" y="127596"/>
                    <a:pt x="94994" y="-5426"/>
                    <a:pt x="272520" y="0"/>
                  </a:cubicBezTo>
                  <a:cubicBezTo>
                    <a:pt x="461767" y="21794"/>
                    <a:pt x="552434" y="106028"/>
                    <a:pt x="545040" y="283144"/>
                  </a:cubicBezTo>
                  <a:cubicBezTo>
                    <a:pt x="525555" y="442449"/>
                    <a:pt x="394026" y="570127"/>
                    <a:pt x="272520" y="566288"/>
                  </a:cubicBezTo>
                  <a:cubicBezTo>
                    <a:pt x="160952" y="560629"/>
                    <a:pt x="-1923" y="423320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05823659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026" name="Rectangle 1025">
              <a:extLst>
                <a:ext uri="{FF2B5EF4-FFF2-40B4-BE49-F238E27FC236}">
                  <a16:creationId xmlns:a16="http://schemas.microsoft.com/office/drawing/2014/main" id="{4C37C60B-7BD3-C8F5-9F21-ED53C24FB555}"/>
                </a:ext>
              </a:extLst>
            </p:cNvPr>
            <p:cNvSpPr/>
            <p:nvPr/>
          </p:nvSpPr>
          <p:spPr bwMode="gray">
            <a:xfrm>
              <a:off x="8498145" y="3581429"/>
              <a:ext cx="186516" cy="581394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rPr>
                <a:t>3</a:t>
              </a:r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FAF6EA10-E242-AA69-AD35-A50396AC2179}"/>
              </a:ext>
            </a:extLst>
          </p:cNvPr>
          <p:cNvGrpSpPr/>
          <p:nvPr/>
        </p:nvGrpSpPr>
        <p:grpSpPr>
          <a:xfrm flipH="1">
            <a:off x="4513318" y="2245485"/>
            <a:ext cx="354949" cy="368556"/>
            <a:chOff x="8318886" y="3550080"/>
            <a:chExt cx="545040" cy="612740"/>
          </a:xfrm>
          <a:solidFill>
            <a:schemeClr val="accent2"/>
          </a:solidFill>
        </p:grpSpPr>
        <p:sp>
          <p:nvSpPr>
            <p:cNvPr id="123" name="object 25">
              <a:extLst>
                <a:ext uri="{FF2B5EF4-FFF2-40B4-BE49-F238E27FC236}">
                  <a16:creationId xmlns:a16="http://schemas.microsoft.com/office/drawing/2014/main" id="{6589ADC1-2F6F-7185-B330-0313B3A9AE4F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 rot="1964504">
              <a:off x="8318886" y="3550080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7168" y="120235"/>
                    <a:pt x="65086" y="17856"/>
                    <a:pt x="272520" y="0"/>
                  </a:cubicBezTo>
                  <a:cubicBezTo>
                    <a:pt x="474045" y="-1135"/>
                    <a:pt x="529508" y="130574"/>
                    <a:pt x="545040" y="283144"/>
                  </a:cubicBezTo>
                  <a:cubicBezTo>
                    <a:pt x="529445" y="462150"/>
                    <a:pt x="394838" y="598551"/>
                    <a:pt x="272520" y="566288"/>
                  </a:cubicBezTo>
                  <a:cubicBezTo>
                    <a:pt x="165798" y="539876"/>
                    <a:pt x="-4744" y="440887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4421" y="164421"/>
                    <a:pt x="121193" y="-6399"/>
                    <a:pt x="272520" y="0"/>
                  </a:cubicBezTo>
                  <a:cubicBezTo>
                    <a:pt x="437319" y="8634"/>
                    <a:pt x="525973" y="97365"/>
                    <a:pt x="545040" y="283144"/>
                  </a:cubicBezTo>
                  <a:cubicBezTo>
                    <a:pt x="545221" y="430368"/>
                    <a:pt x="455928" y="529044"/>
                    <a:pt x="272520" y="566288"/>
                  </a:cubicBezTo>
                  <a:cubicBezTo>
                    <a:pt x="170236" y="549392"/>
                    <a:pt x="19819" y="430275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2960" y="127596"/>
                    <a:pt x="94994" y="-5426"/>
                    <a:pt x="272520" y="0"/>
                  </a:cubicBezTo>
                  <a:cubicBezTo>
                    <a:pt x="461767" y="21794"/>
                    <a:pt x="552434" y="106028"/>
                    <a:pt x="545040" y="283144"/>
                  </a:cubicBezTo>
                  <a:cubicBezTo>
                    <a:pt x="525555" y="442449"/>
                    <a:pt x="394026" y="570127"/>
                    <a:pt x="272520" y="566288"/>
                  </a:cubicBezTo>
                  <a:cubicBezTo>
                    <a:pt x="160952" y="560629"/>
                    <a:pt x="-1923" y="423320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05823659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EF0654DA-9260-ECFF-AC3F-A589338A1362}"/>
                </a:ext>
              </a:extLst>
            </p:cNvPr>
            <p:cNvSpPr/>
            <p:nvPr/>
          </p:nvSpPr>
          <p:spPr bwMode="gray">
            <a:xfrm>
              <a:off x="8498145" y="3581426"/>
              <a:ext cx="186516" cy="581394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rPr>
                <a:t>4</a:t>
              </a: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612B2820-F1CE-DFD7-CF2D-E740AD7BCE85}"/>
              </a:ext>
            </a:extLst>
          </p:cNvPr>
          <p:cNvGrpSpPr/>
          <p:nvPr/>
        </p:nvGrpSpPr>
        <p:grpSpPr>
          <a:xfrm flipH="1">
            <a:off x="2235215" y="2245487"/>
            <a:ext cx="354949" cy="368560"/>
            <a:chOff x="8318886" y="3550077"/>
            <a:chExt cx="545040" cy="612746"/>
          </a:xfrm>
          <a:solidFill>
            <a:schemeClr val="accent2"/>
          </a:solidFill>
        </p:grpSpPr>
        <p:sp>
          <p:nvSpPr>
            <p:cNvPr id="121" name="object 25">
              <a:extLst>
                <a:ext uri="{FF2B5EF4-FFF2-40B4-BE49-F238E27FC236}">
                  <a16:creationId xmlns:a16="http://schemas.microsoft.com/office/drawing/2014/main" id="{B38C3A3C-69A0-9C85-14AC-FDB67CEA0EED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 rot="1964504">
              <a:off x="8318886" y="3550077"/>
              <a:ext cx="545040" cy="566288"/>
            </a:xfrm>
            <a:custGeom>
              <a:avLst/>
              <a:gdLst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  <a:gd name="connsiteX0" fmla="*/ 0 w 545040"/>
                <a:gd name="connsiteY0" fmla="*/ 283144 h 566288"/>
                <a:gd name="connsiteX1" fmla="*/ 272520 w 545040"/>
                <a:gd name="connsiteY1" fmla="*/ 0 h 566288"/>
                <a:gd name="connsiteX2" fmla="*/ 545040 w 545040"/>
                <a:gd name="connsiteY2" fmla="*/ 283144 h 566288"/>
                <a:gd name="connsiteX3" fmla="*/ 272520 w 545040"/>
                <a:gd name="connsiteY3" fmla="*/ 566288 h 566288"/>
                <a:gd name="connsiteX4" fmla="*/ 0 w 545040"/>
                <a:gd name="connsiteY4" fmla="*/ 283144 h 566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5040" h="566288" fill="none" extrusionOk="0">
                  <a:moveTo>
                    <a:pt x="0" y="283144"/>
                  </a:moveTo>
                  <a:cubicBezTo>
                    <a:pt x="7168" y="120235"/>
                    <a:pt x="65086" y="17856"/>
                    <a:pt x="272520" y="0"/>
                  </a:cubicBezTo>
                  <a:cubicBezTo>
                    <a:pt x="474045" y="-1135"/>
                    <a:pt x="529508" y="130574"/>
                    <a:pt x="545040" y="283144"/>
                  </a:cubicBezTo>
                  <a:cubicBezTo>
                    <a:pt x="529445" y="462150"/>
                    <a:pt x="394838" y="598551"/>
                    <a:pt x="272520" y="566288"/>
                  </a:cubicBezTo>
                  <a:cubicBezTo>
                    <a:pt x="165798" y="539876"/>
                    <a:pt x="-4744" y="440887"/>
                    <a:pt x="0" y="283144"/>
                  </a:cubicBezTo>
                  <a:close/>
                </a:path>
                <a:path w="545040" h="566288" stroke="0" extrusionOk="0">
                  <a:moveTo>
                    <a:pt x="0" y="283144"/>
                  </a:moveTo>
                  <a:cubicBezTo>
                    <a:pt x="4421" y="164421"/>
                    <a:pt x="121193" y="-6399"/>
                    <a:pt x="272520" y="0"/>
                  </a:cubicBezTo>
                  <a:cubicBezTo>
                    <a:pt x="437319" y="8634"/>
                    <a:pt x="525973" y="97365"/>
                    <a:pt x="545040" y="283144"/>
                  </a:cubicBezTo>
                  <a:cubicBezTo>
                    <a:pt x="545221" y="430368"/>
                    <a:pt x="455928" y="529044"/>
                    <a:pt x="272520" y="566288"/>
                  </a:cubicBezTo>
                  <a:cubicBezTo>
                    <a:pt x="170236" y="549392"/>
                    <a:pt x="19819" y="430275"/>
                    <a:pt x="0" y="283144"/>
                  </a:cubicBezTo>
                  <a:close/>
                </a:path>
                <a:path w="545040" h="566288" fill="none" stroke="0" extrusionOk="0">
                  <a:moveTo>
                    <a:pt x="0" y="283144"/>
                  </a:moveTo>
                  <a:cubicBezTo>
                    <a:pt x="32960" y="127596"/>
                    <a:pt x="94994" y="-5426"/>
                    <a:pt x="272520" y="0"/>
                  </a:cubicBezTo>
                  <a:cubicBezTo>
                    <a:pt x="461767" y="21794"/>
                    <a:pt x="552434" y="106028"/>
                    <a:pt x="545040" y="283144"/>
                  </a:cubicBezTo>
                  <a:cubicBezTo>
                    <a:pt x="525555" y="442449"/>
                    <a:pt x="394026" y="570127"/>
                    <a:pt x="272520" y="566288"/>
                  </a:cubicBezTo>
                  <a:cubicBezTo>
                    <a:pt x="160952" y="560629"/>
                    <a:pt x="-1923" y="423320"/>
                    <a:pt x="0" y="283144"/>
                  </a:cubicBezTo>
                  <a:close/>
                </a:path>
              </a:pathLst>
            </a:custGeom>
            <a:grpFill/>
            <a:ln w="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105823659">
                    <a:custGeom>
                      <a:avLst/>
                      <a:gdLst>
                        <a:gd name="connsiteX0" fmla="*/ 0 w 917816"/>
                        <a:gd name="connsiteY0" fmla="*/ 476799 h 953598"/>
                        <a:gd name="connsiteX1" fmla="*/ 458908 w 917816"/>
                        <a:gd name="connsiteY1" fmla="*/ 0 h 953598"/>
                        <a:gd name="connsiteX2" fmla="*/ 917816 w 917816"/>
                        <a:gd name="connsiteY2" fmla="*/ 476799 h 953598"/>
                        <a:gd name="connsiteX3" fmla="*/ 458908 w 917816"/>
                        <a:gd name="connsiteY3" fmla="*/ 953598 h 953598"/>
                        <a:gd name="connsiteX4" fmla="*/ 0 w 917816"/>
                        <a:gd name="connsiteY4" fmla="*/ 476799 h 95359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917816" h="953598" fill="none" extrusionOk="0">
                          <a:moveTo>
                            <a:pt x="0" y="476799"/>
                          </a:moveTo>
                          <a:cubicBezTo>
                            <a:pt x="4806" y="213198"/>
                            <a:pt x="183624" y="563"/>
                            <a:pt x="458908" y="0"/>
                          </a:cubicBezTo>
                          <a:cubicBezTo>
                            <a:pt x="726754" y="12357"/>
                            <a:pt x="914608" y="209252"/>
                            <a:pt x="917816" y="476799"/>
                          </a:cubicBezTo>
                          <a:cubicBezTo>
                            <a:pt x="922479" y="754912"/>
                            <a:pt x="704225" y="950588"/>
                            <a:pt x="458908" y="953598"/>
                          </a:cubicBezTo>
                          <a:cubicBezTo>
                            <a:pt x="250541" y="936912"/>
                            <a:pt x="50040" y="730754"/>
                            <a:pt x="0" y="476799"/>
                          </a:cubicBezTo>
                          <a:close/>
                        </a:path>
                        <a:path w="917816" h="953598" stroke="0" extrusionOk="0">
                          <a:moveTo>
                            <a:pt x="0" y="476799"/>
                          </a:moveTo>
                          <a:cubicBezTo>
                            <a:pt x="-19680" y="223704"/>
                            <a:pt x="225672" y="-13862"/>
                            <a:pt x="458908" y="0"/>
                          </a:cubicBezTo>
                          <a:cubicBezTo>
                            <a:pt x="710853" y="7632"/>
                            <a:pt x="894643" y="171739"/>
                            <a:pt x="917816" y="476799"/>
                          </a:cubicBezTo>
                          <a:cubicBezTo>
                            <a:pt x="930907" y="735023"/>
                            <a:pt x="726154" y="907650"/>
                            <a:pt x="458908" y="953598"/>
                          </a:cubicBezTo>
                          <a:cubicBezTo>
                            <a:pt x="229559" y="925772"/>
                            <a:pt x="30875" y="714004"/>
                            <a:pt x="0" y="476799"/>
                          </a:cubicBezTo>
                          <a:close/>
                        </a:path>
                      </a:pathLst>
                    </a:custGeom>
                    <ask:type>
                      <ask:lineSketchScribble/>
                    </ask:type>
                  </ask:lineSketchStyleProps>
                </a:ext>
              </a:extLst>
            </a:ln>
          </p:spPr>
          <p:txBody>
            <a:bodyPr wrap="square" lIns="0" tIns="0" rIns="0" bIns="0" rtlCol="0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365A4BA4-BFBA-24F3-0709-3B1D3783D452}"/>
                </a:ext>
              </a:extLst>
            </p:cNvPr>
            <p:cNvSpPr/>
            <p:nvPr/>
          </p:nvSpPr>
          <p:spPr bwMode="gray">
            <a:xfrm>
              <a:off x="8498145" y="3581429"/>
              <a:ext cx="186516" cy="581394"/>
            </a:xfrm>
            <a:prstGeom prst="rect">
              <a:avLst/>
            </a:prstGeom>
            <a:grpFill/>
            <a:ln w="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ar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rPr>
                <a:t>5</a:t>
              </a:r>
            </a:p>
          </p:txBody>
        </p:sp>
      </p:grpSp>
      <p:pic>
        <p:nvPicPr>
          <p:cNvPr id="1034" name="Picture 2">
            <a:extLst>
              <a:ext uri="{FF2B5EF4-FFF2-40B4-BE49-F238E27FC236}">
                <a16:creationId xmlns:a16="http://schemas.microsoft.com/office/drawing/2014/main" id="{9BB11774-719B-BAA6-9305-51519DA98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604244" y="3279149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4">
            <a:extLst>
              <a:ext uri="{FF2B5EF4-FFF2-40B4-BE49-F238E27FC236}">
                <a16:creationId xmlns:a16="http://schemas.microsoft.com/office/drawing/2014/main" id="{F96A05B4-9D1F-068D-F043-ABAE12B4B7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9664" y="3279149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6">
            <a:extLst>
              <a:ext uri="{FF2B5EF4-FFF2-40B4-BE49-F238E27FC236}">
                <a16:creationId xmlns:a16="http://schemas.microsoft.com/office/drawing/2014/main" id="{BE9BF6FF-827C-FB38-677B-F531B7AF70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75085" y="3279149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8">
            <a:extLst>
              <a:ext uri="{FF2B5EF4-FFF2-40B4-BE49-F238E27FC236}">
                <a16:creationId xmlns:a16="http://schemas.microsoft.com/office/drawing/2014/main" id="{2A823B82-9D45-B91E-C406-E81444FF40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796983" y="3279149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0">
            <a:extLst>
              <a:ext uri="{FF2B5EF4-FFF2-40B4-BE49-F238E27FC236}">
                <a16:creationId xmlns:a16="http://schemas.microsoft.com/office/drawing/2014/main" id="{9F19A27F-8027-EFA2-8477-C0B0F7B89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18881" y="3279149"/>
            <a:ext cx="511171" cy="511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66E83FE3-5528-D5A9-79EA-9241597A4FB4}"/>
              </a:ext>
            </a:extLst>
          </p:cNvPr>
          <p:cNvGrpSpPr/>
          <p:nvPr/>
        </p:nvGrpSpPr>
        <p:grpSpPr>
          <a:xfrm rot="21310741" flipH="1">
            <a:off x="860169" y="1560826"/>
            <a:ext cx="612802" cy="696451"/>
            <a:chOff x="10762190" y="172178"/>
            <a:chExt cx="775143" cy="860010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743FE6D-1613-BB0A-4E4F-08E1864DCBF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 rot="21109248" flipH="1">
              <a:off x="10959599" y="689559"/>
              <a:ext cx="412752" cy="332258"/>
            </a:xfrm>
            <a:custGeom>
              <a:avLst/>
              <a:gdLst>
                <a:gd name="connsiteX0" fmla="*/ 556421 w 686137"/>
                <a:gd name="connsiteY0" fmla="*/ 111987 h 552328"/>
                <a:gd name="connsiteX1" fmla="*/ 684914 w 686137"/>
                <a:gd name="connsiteY1" fmla="*/ 513371 h 552328"/>
                <a:gd name="connsiteX2" fmla="*/ 1971 w 686137"/>
                <a:gd name="connsiteY2" fmla="*/ 552328 h 552328"/>
                <a:gd name="connsiteX3" fmla="*/ 1971 w 686137"/>
                <a:gd name="connsiteY3" fmla="*/ 156660 h 552328"/>
                <a:gd name="connsiteX4" fmla="*/ 556421 w 686137"/>
                <a:gd name="connsiteY4" fmla="*/ 111892 h 552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6137" h="552328">
                  <a:moveTo>
                    <a:pt x="556421" y="111987"/>
                  </a:moveTo>
                  <a:cubicBezTo>
                    <a:pt x="556421" y="111987"/>
                    <a:pt x="700821" y="317061"/>
                    <a:pt x="684914" y="513371"/>
                  </a:cubicBezTo>
                  <a:cubicBezTo>
                    <a:pt x="684914" y="513371"/>
                    <a:pt x="10544" y="552328"/>
                    <a:pt x="1971" y="552328"/>
                  </a:cubicBezTo>
                  <a:cubicBezTo>
                    <a:pt x="-6601" y="552328"/>
                    <a:pt x="16449" y="315537"/>
                    <a:pt x="1971" y="156660"/>
                  </a:cubicBezTo>
                  <a:cubicBezTo>
                    <a:pt x="-12507" y="-2217"/>
                    <a:pt x="399068" y="-77274"/>
                    <a:pt x="556421" y="111892"/>
                  </a:cubicBezTo>
                  <a:close/>
                </a:path>
              </a:pathLst>
            </a:custGeom>
            <a:solidFill>
              <a:srgbClr val="FCEB8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177800" marR="0" lvl="0" indent="-177800" algn="r" defTabSz="711200" rtl="1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kkal Majalla" panose="02000000000000000000" pitchFamily="2" charset="-78"/>
                <a:ea typeface="+mn-ea"/>
                <a:cs typeface="Sakkal Majalla" panose="02000000000000000000" pitchFamily="2" charset="-78"/>
              </a:endParaRPr>
            </a:p>
          </p:txBody>
        </p:sp>
        <p:grpSp>
          <p:nvGrpSpPr>
            <p:cNvPr id="56" name="Graphic 1665">
              <a:extLst>
                <a:ext uri="{FF2B5EF4-FFF2-40B4-BE49-F238E27FC236}">
                  <a16:creationId xmlns:a16="http://schemas.microsoft.com/office/drawing/2014/main" id="{86995EA7-B77D-65B6-8E9E-256EBFA724CD}"/>
                </a:ext>
              </a:extLst>
            </p:cNvPr>
            <p:cNvGrpSpPr/>
            <p:nvPr>
              <p:custDataLst>
                <p:tags r:id="rId7"/>
              </p:custDataLst>
            </p:nvPr>
          </p:nvGrpSpPr>
          <p:grpSpPr>
            <a:xfrm rot="21109248" flipH="1">
              <a:off x="11323196" y="697089"/>
              <a:ext cx="194509" cy="319830"/>
              <a:chOff x="5509259" y="3292237"/>
              <a:chExt cx="323342" cy="531668"/>
            </a:xfrm>
          </p:grpSpPr>
          <p:grpSp>
            <p:nvGrpSpPr>
              <p:cNvPr id="89" name="Graphic 1665">
                <a:extLst>
                  <a:ext uri="{FF2B5EF4-FFF2-40B4-BE49-F238E27FC236}">
                    <a16:creationId xmlns:a16="http://schemas.microsoft.com/office/drawing/2014/main" id="{5E5F044F-1858-6DBF-B41A-A02A3C43A63E}"/>
                  </a:ext>
                </a:extLst>
              </p:cNvPr>
              <p:cNvGrpSpPr/>
              <p:nvPr>
                <p:custDataLst>
                  <p:tags r:id="rId40"/>
                </p:custDataLst>
              </p:nvPr>
            </p:nvGrpSpPr>
            <p:grpSpPr>
              <a:xfrm>
                <a:off x="5509789" y="3531583"/>
                <a:ext cx="146749" cy="292322"/>
                <a:chOff x="5509789" y="3531583"/>
                <a:chExt cx="146749" cy="292322"/>
              </a:xfrm>
            </p:grpSpPr>
            <p:sp>
              <p:nvSpPr>
                <p:cNvPr id="91" name="Freeform: Shape 90">
                  <a:extLst>
                    <a:ext uri="{FF2B5EF4-FFF2-40B4-BE49-F238E27FC236}">
                      <a16:creationId xmlns:a16="http://schemas.microsoft.com/office/drawing/2014/main" id="{15CFB4AA-E513-27FE-38C8-64FB3399921F}"/>
                    </a:ext>
                  </a:extLst>
                </p:cNvPr>
                <p:cNvSpPr/>
                <p:nvPr>
                  <p:custDataLst>
                    <p:tags r:id="rId42"/>
                  </p:custDataLst>
                </p:nvPr>
              </p:nvSpPr>
              <p:spPr>
                <a:xfrm>
                  <a:off x="5509789" y="3531583"/>
                  <a:ext cx="146749" cy="292322"/>
                </a:xfrm>
                <a:custGeom>
                  <a:avLst/>
                  <a:gdLst>
                    <a:gd name="connsiteX0" fmla="*/ 70146 w 146749"/>
                    <a:gd name="connsiteY0" fmla="*/ 292322 h 292322"/>
                    <a:gd name="connsiteX1" fmla="*/ 23473 w 146749"/>
                    <a:gd name="connsiteY1" fmla="*/ 19526 h 292322"/>
                    <a:gd name="connsiteX2" fmla="*/ 26902 w 146749"/>
                    <a:gd name="connsiteY2" fmla="*/ 0 h 292322"/>
                    <a:gd name="connsiteX3" fmla="*/ 143869 w 146749"/>
                    <a:gd name="connsiteY3" fmla="*/ 58483 h 292322"/>
                    <a:gd name="connsiteX4" fmla="*/ 70146 w 146749"/>
                    <a:gd name="connsiteY4" fmla="*/ 292322 h 2923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6749" h="292322">
                      <a:moveTo>
                        <a:pt x="70146" y="292322"/>
                      </a:moveTo>
                      <a:cubicBezTo>
                        <a:pt x="-53012" y="220313"/>
                        <a:pt x="23473" y="19526"/>
                        <a:pt x="23473" y="19526"/>
                      </a:cubicBezTo>
                      <a:lnTo>
                        <a:pt x="26902" y="0"/>
                      </a:lnTo>
                      <a:lnTo>
                        <a:pt x="143869" y="58483"/>
                      </a:lnTo>
                      <a:cubicBezTo>
                        <a:pt x="143869" y="58483"/>
                        <a:pt x="169111" y="273558"/>
                        <a:pt x="70146" y="292322"/>
                      </a:cubicBezTo>
                      <a:close/>
                    </a:path>
                  </a:pathLst>
                </a:custGeom>
                <a:solidFill>
                  <a:srgbClr val="FFA97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F98E974C-81FC-2FA3-FEF7-6441477105B3}"/>
                    </a:ext>
                  </a:extLst>
                </p:cNvPr>
                <p:cNvSpPr/>
                <p:nvPr>
                  <p:custDataLst>
                    <p:tags r:id="rId43"/>
                  </p:custDataLst>
                </p:nvPr>
              </p:nvSpPr>
              <p:spPr>
                <a:xfrm>
                  <a:off x="5569167" y="3570737"/>
                  <a:ext cx="71469" cy="146965"/>
                </a:xfrm>
                <a:custGeom>
                  <a:avLst/>
                  <a:gdLst>
                    <a:gd name="connsiteX0" fmla="*/ 70584 w 71469"/>
                    <a:gd name="connsiteY0" fmla="*/ 34475 h 146965"/>
                    <a:gd name="connsiteX1" fmla="*/ 4 w 71469"/>
                    <a:gd name="connsiteY1" fmla="*/ 146965 h 146965"/>
                    <a:gd name="connsiteX2" fmla="*/ 39247 w 71469"/>
                    <a:gd name="connsiteY2" fmla="*/ 22188 h 146965"/>
                    <a:gd name="connsiteX3" fmla="*/ 70584 w 71469"/>
                    <a:gd name="connsiteY3" fmla="*/ 34475 h 1469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469" h="146965">
                      <a:moveTo>
                        <a:pt x="70584" y="34475"/>
                      </a:moveTo>
                      <a:lnTo>
                        <a:pt x="4" y="146965"/>
                      </a:lnTo>
                      <a:cubicBezTo>
                        <a:pt x="4" y="146965"/>
                        <a:pt x="-1234" y="78576"/>
                        <a:pt x="39247" y="22188"/>
                      </a:cubicBezTo>
                      <a:cubicBezTo>
                        <a:pt x="79728" y="-34105"/>
                        <a:pt x="70584" y="34475"/>
                        <a:pt x="70584" y="34475"/>
                      </a:cubicBezTo>
                    </a:path>
                  </a:pathLst>
                </a:custGeom>
                <a:solidFill>
                  <a:srgbClr val="CF5F5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</p:grp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79CA8DF-20A6-2BEC-7BFB-ED02D620AA5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5509259" y="3292237"/>
                <a:ext cx="323342" cy="337549"/>
              </a:xfrm>
              <a:custGeom>
                <a:avLst/>
                <a:gdLst>
                  <a:gd name="connsiteX0" fmla="*/ 0 w 323342"/>
                  <a:gd name="connsiteY0" fmla="*/ 241156 h 337549"/>
                  <a:gd name="connsiteX1" fmla="*/ 250127 w 323342"/>
                  <a:gd name="connsiteY1" fmla="*/ 9413 h 337549"/>
                  <a:gd name="connsiteX2" fmla="*/ 252317 w 323342"/>
                  <a:gd name="connsiteY2" fmla="*/ 337549 h 337549"/>
                  <a:gd name="connsiteX3" fmla="*/ 109252 w 323342"/>
                  <a:gd name="connsiteY3" fmla="*/ 304974 h 337549"/>
                  <a:gd name="connsiteX4" fmla="*/ 0 w 323342"/>
                  <a:gd name="connsiteY4" fmla="*/ 241156 h 337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342" h="337549">
                    <a:moveTo>
                      <a:pt x="0" y="241156"/>
                    </a:moveTo>
                    <a:cubicBezTo>
                      <a:pt x="0" y="241156"/>
                      <a:pt x="90678" y="-56024"/>
                      <a:pt x="250127" y="9413"/>
                    </a:cubicBezTo>
                    <a:cubicBezTo>
                      <a:pt x="413576" y="76469"/>
                      <a:pt x="252317" y="337549"/>
                      <a:pt x="252317" y="337549"/>
                    </a:cubicBezTo>
                    <a:cubicBezTo>
                      <a:pt x="217265" y="335454"/>
                      <a:pt x="166211" y="328215"/>
                      <a:pt x="109252" y="304974"/>
                    </a:cubicBezTo>
                    <a:cubicBezTo>
                      <a:pt x="61436" y="285447"/>
                      <a:pt x="25146" y="260968"/>
                      <a:pt x="0" y="241156"/>
                    </a:cubicBezTo>
                    <a:close/>
                  </a:path>
                </a:pathLst>
              </a:custGeom>
              <a:solidFill>
                <a:srgbClr val="CD5B1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r" defTabSz="711200" rtl="1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endParaRPr>
              </a:p>
            </p:txBody>
          </p:sp>
        </p:grpSp>
        <p:grpSp>
          <p:nvGrpSpPr>
            <p:cNvPr id="57" name="Graphic 1665">
              <a:extLst>
                <a:ext uri="{FF2B5EF4-FFF2-40B4-BE49-F238E27FC236}">
                  <a16:creationId xmlns:a16="http://schemas.microsoft.com/office/drawing/2014/main" id="{4E9B5B7B-E215-5872-65A3-49838A111C95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 rot="21109248" flipH="1">
              <a:off x="10872623" y="172178"/>
              <a:ext cx="664710" cy="666881"/>
              <a:chOff x="5389911" y="2374644"/>
              <a:chExt cx="1104978" cy="1108586"/>
            </a:xfrm>
          </p:grpSpPr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C6A91470-1D9E-A3A8-FB76-8E10F06E1631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5398864" y="2374644"/>
                <a:ext cx="1094437" cy="931972"/>
              </a:xfrm>
              <a:custGeom>
                <a:avLst/>
                <a:gdLst>
                  <a:gd name="connsiteX0" fmla="*/ 1093184 w 1094437"/>
                  <a:gd name="connsiteY0" fmla="*/ 370746 h 931972"/>
                  <a:gd name="connsiteX1" fmla="*/ 1033939 w 1094437"/>
                  <a:gd name="connsiteY1" fmla="*/ 287117 h 931972"/>
                  <a:gd name="connsiteX2" fmla="*/ 1029557 w 1094437"/>
                  <a:gd name="connsiteY2" fmla="*/ 502096 h 931972"/>
                  <a:gd name="connsiteX3" fmla="*/ 206502 w 1094437"/>
                  <a:gd name="connsiteY3" fmla="*/ 855950 h 931972"/>
                  <a:gd name="connsiteX4" fmla="*/ 34671 w 1094437"/>
                  <a:gd name="connsiteY4" fmla="*/ 558484 h 931972"/>
                  <a:gd name="connsiteX5" fmla="*/ 73628 w 1094437"/>
                  <a:gd name="connsiteY5" fmla="*/ 401512 h 931972"/>
                  <a:gd name="connsiteX6" fmla="*/ 0 w 1094437"/>
                  <a:gd name="connsiteY6" fmla="*/ 455995 h 931972"/>
                  <a:gd name="connsiteX7" fmla="*/ 172212 w 1094437"/>
                  <a:gd name="connsiteY7" fmla="*/ 282735 h 931972"/>
                  <a:gd name="connsiteX8" fmla="*/ 286798 w 1094437"/>
                  <a:gd name="connsiteY8" fmla="*/ 66232 h 931972"/>
                  <a:gd name="connsiteX9" fmla="*/ 227648 w 1094437"/>
                  <a:gd name="connsiteY9" fmla="*/ 201201 h 931972"/>
                  <a:gd name="connsiteX10" fmla="*/ 563118 w 1094437"/>
                  <a:gd name="connsiteY10" fmla="*/ 9844 h 931972"/>
                  <a:gd name="connsiteX11" fmla="*/ 957548 w 1094437"/>
                  <a:gd name="connsiteY11" fmla="*/ 92330 h 931972"/>
                  <a:gd name="connsiteX12" fmla="*/ 830961 w 1094437"/>
                  <a:gd name="connsiteY12" fmla="*/ 86330 h 931972"/>
                  <a:gd name="connsiteX13" fmla="*/ 1009079 w 1094437"/>
                  <a:gd name="connsiteY13" fmla="*/ 151004 h 931972"/>
                  <a:gd name="connsiteX14" fmla="*/ 1042892 w 1094437"/>
                  <a:gd name="connsiteY14" fmla="*/ 182913 h 931972"/>
                  <a:gd name="connsiteX15" fmla="*/ 1055561 w 1094437"/>
                  <a:gd name="connsiteY15" fmla="*/ 203582 h 931972"/>
                  <a:gd name="connsiteX16" fmla="*/ 1055846 w 1094437"/>
                  <a:gd name="connsiteY16" fmla="*/ 204059 h 931972"/>
                  <a:gd name="connsiteX17" fmla="*/ 1055846 w 1094437"/>
                  <a:gd name="connsiteY17" fmla="*/ 204059 h 931972"/>
                  <a:gd name="connsiteX18" fmla="*/ 1093184 w 1094437"/>
                  <a:gd name="connsiteY18" fmla="*/ 370841 h 931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94437" h="931971">
                    <a:moveTo>
                      <a:pt x="1093184" y="370746"/>
                    </a:moveTo>
                    <a:cubicBezTo>
                      <a:pt x="1093184" y="370746"/>
                      <a:pt x="1077278" y="328931"/>
                      <a:pt x="1033939" y="287117"/>
                    </a:cubicBezTo>
                    <a:cubicBezTo>
                      <a:pt x="1036225" y="292165"/>
                      <a:pt x="1091851" y="417133"/>
                      <a:pt x="1029557" y="502096"/>
                    </a:cubicBezTo>
                    <a:cubicBezTo>
                      <a:pt x="966026" y="588773"/>
                      <a:pt x="841915" y="1128079"/>
                      <a:pt x="206502" y="855950"/>
                    </a:cubicBezTo>
                    <a:cubicBezTo>
                      <a:pt x="206502" y="855950"/>
                      <a:pt x="30385" y="763462"/>
                      <a:pt x="34671" y="558484"/>
                    </a:cubicBezTo>
                    <a:cubicBezTo>
                      <a:pt x="36004" y="495143"/>
                      <a:pt x="52102" y="443136"/>
                      <a:pt x="73628" y="401512"/>
                    </a:cubicBezTo>
                    <a:cubicBezTo>
                      <a:pt x="36576" y="413323"/>
                      <a:pt x="0" y="455995"/>
                      <a:pt x="0" y="455995"/>
                    </a:cubicBezTo>
                    <a:cubicBezTo>
                      <a:pt x="26003" y="293594"/>
                      <a:pt x="172212" y="282735"/>
                      <a:pt x="172212" y="282735"/>
                    </a:cubicBezTo>
                    <a:cubicBezTo>
                      <a:pt x="138113" y="163196"/>
                      <a:pt x="282797" y="68804"/>
                      <a:pt x="286798" y="66232"/>
                    </a:cubicBezTo>
                    <a:cubicBezTo>
                      <a:pt x="243459" y="117476"/>
                      <a:pt x="230886" y="169197"/>
                      <a:pt x="227648" y="201201"/>
                    </a:cubicBezTo>
                    <a:cubicBezTo>
                      <a:pt x="268034" y="138050"/>
                      <a:pt x="359950" y="46801"/>
                      <a:pt x="563118" y="9844"/>
                    </a:cubicBezTo>
                    <a:cubicBezTo>
                      <a:pt x="725519" y="-19684"/>
                      <a:pt x="863155" y="19940"/>
                      <a:pt x="957548" y="92330"/>
                    </a:cubicBezTo>
                    <a:cubicBezTo>
                      <a:pt x="957548" y="92330"/>
                      <a:pt x="881444" y="77662"/>
                      <a:pt x="830961" y="86330"/>
                    </a:cubicBezTo>
                    <a:cubicBezTo>
                      <a:pt x="830961" y="86330"/>
                      <a:pt x="939927" y="101189"/>
                      <a:pt x="1009079" y="151004"/>
                    </a:cubicBezTo>
                    <a:cubicBezTo>
                      <a:pt x="1022033" y="160339"/>
                      <a:pt x="1033653" y="170912"/>
                      <a:pt x="1042892" y="182913"/>
                    </a:cubicBezTo>
                    <a:cubicBezTo>
                      <a:pt x="1047369" y="189676"/>
                      <a:pt x="1051655" y="196629"/>
                      <a:pt x="1055561" y="203582"/>
                    </a:cubicBezTo>
                    <a:cubicBezTo>
                      <a:pt x="1055561" y="203773"/>
                      <a:pt x="1055751" y="203868"/>
                      <a:pt x="1055846" y="204059"/>
                    </a:cubicBezTo>
                    <a:lnTo>
                      <a:pt x="1055846" y="204059"/>
                    </a:lnTo>
                    <a:cubicBezTo>
                      <a:pt x="1085374" y="256732"/>
                      <a:pt x="1098804" y="314358"/>
                      <a:pt x="1093184" y="370841"/>
                    </a:cubicBezTo>
                    <a:close/>
                  </a:path>
                </a:pathLst>
              </a:custGeom>
              <a:solidFill>
                <a:srgbClr val="72412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r" defTabSz="711200" rtl="1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CCBFF8F-32FD-7F7D-AFD7-06CE2623EB99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5620627" y="2526514"/>
                <a:ext cx="871378" cy="956716"/>
              </a:xfrm>
              <a:custGeom>
                <a:avLst/>
                <a:gdLst>
                  <a:gd name="connsiteX0" fmla="*/ 810652 w 871378"/>
                  <a:gd name="connsiteY0" fmla="*/ 459953 h 956716"/>
                  <a:gd name="connsiteX1" fmla="*/ 796174 w 871378"/>
                  <a:gd name="connsiteY1" fmla="*/ 835333 h 956716"/>
                  <a:gd name="connsiteX2" fmla="*/ 92943 w 871378"/>
                  <a:gd name="connsiteY2" fmla="*/ 773230 h 956716"/>
                  <a:gd name="connsiteX3" fmla="*/ 291444 w 871378"/>
                  <a:gd name="connsiteY3" fmla="*/ 22375 h 956716"/>
                  <a:gd name="connsiteX4" fmla="*/ 810557 w 871378"/>
                  <a:gd name="connsiteY4" fmla="*/ 459858 h 956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71378" h="956716">
                    <a:moveTo>
                      <a:pt x="810652" y="459953"/>
                    </a:moveTo>
                    <a:cubicBezTo>
                      <a:pt x="810652" y="459953"/>
                      <a:pt x="956480" y="646262"/>
                      <a:pt x="796174" y="835333"/>
                    </a:cubicBezTo>
                    <a:cubicBezTo>
                      <a:pt x="635868" y="1024500"/>
                      <a:pt x="231627" y="984019"/>
                      <a:pt x="92943" y="773230"/>
                    </a:cubicBezTo>
                    <a:cubicBezTo>
                      <a:pt x="-45646" y="562442"/>
                      <a:pt x="-65934" y="126388"/>
                      <a:pt x="291444" y="22375"/>
                    </a:cubicBezTo>
                    <a:cubicBezTo>
                      <a:pt x="648822" y="-81543"/>
                      <a:pt x="868278" y="195634"/>
                      <a:pt x="810557" y="459858"/>
                    </a:cubicBezTo>
                    <a:close/>
                  </a:path>
                </a:pathLst>
              </a:custGeom>
              <a:solidFill>
                <a:srgbClr val="FFC19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r" defTabSz="711200" rtl="1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endParaRPr>
              </a:p>
            </p:txBody>
          </p:sp>
          <p:grpSp>
            <p:nvGrpSpPr>
              <p:cNvPr id="76" name="Graphic 1665">
                <a:extLst>
                  <a:ext uri="{FF2B5EF4-FFF2-40B4-BE49-F238E27FC236}">
                    <a16:creationId xmlns:a16="http://schemas.microsoft.com/office/drawing/2014/main" id="{67EBA0F3-9DBC-3650-635E-4DF94F10B755}"/>
                  </a:ext>
                </a:extLst>
              </p:cNvPr>
              <p:cNvGrpSpPr/>
              <p:nvPr>
                <p:custDataLst>
                  <p:tags r:id="rId27"/>
                </p:custDataLst>
              </p:nvPr>
            </p:nvGrpSpPr>
            <p:grpSpPr>
              <a:xfrm>
                <a:off x="5389911" y="2375120"/>
                <a:ext cx="1104978" cy="855473"/>
                <a:chOff x="5389911" y="2375120"/>
                <a:chExt cx="1104978" cy="855473"/>
              </a:xfrm>
            </p:grpSpPr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01B9C755-D116-CD7F-403F-CD55B38B901F}"/>
                    </a:ext>
                  </a:extLst>
                </p:cNvPr>
                <p:cNvSpPr/>
                <p:nvPr>
                  <p:custDataLst>
                    <p:tags r:id="rId31"/>
                  </p:custDataLst>
                </p:nvPr>
              </p:nvSpPr>
              <p:spPr>
                <a:xfrm>
                  <a:off x="5398674" y="2375120"/>
                  <a:ext cx="1094532" cy="855473"/>
                </a:xfrm>
                <a:custGeom>
                  <a:avLst/>
                  <a:gdLst>
                    <a:gd name="connsiteX0" fmla="*/ 1093375 w 1094532"/>
                    <a:gd name="connsiteY0" fmla="*/ 370270 h 855473"/>
                    <a:gd name="connsiteX1" fmla="*/ 1034129 w 1094532"/>
                    <a:gd name="connsiteY1" fmla="*/ 286640 h 855473"/>
                    <a:gd name="connsiteX2" fmla="*/ 1059180 w 1094532"/>
                    <a:gd name="connsiteY2" fmla="*/ 402750 h 855473"/>
                    <a:gd name="connsiteX3" fmla="*/ 1058894 w 1094532"/>
                    <a:gd name="connsiteY3" fmla="*/ 413132 h 855473"/>
                    <a:gd name="connsiteX4" fmla="*/ 1058894 w 1094532"/>
                    <a:gd name="connsiteY4" fmla="*/ 413132 h 855473"/>
                    <a:gd name="connsiteX5" fmla="*/ 1058132 w 1094532"/>
                    <a:gd name="connsiteY5" fmla="*/ 423705 h 855473"/>
                    <a:gd name="connsiteX6" fmla="*/ 912019 w 1094532"/>
                    <a:gd name="connsiteY6" fmla="*/ 348172 h 855473"/>
                    <a:gd name="connsiteX7" fmla="*/ 512350 w 1094532"/>
                    <a:gd name="connsiteY7" fmla="*/ 401321 h 855473"/>
                    <a:gd name="connsiteX8" fmla="*/ 601790 w 1094532"/>
                    <a:gd name="connsiteY8" fmla="*/ 477140 h 855473"/>
                    <a:gd name="connsiteX9" fmla="*/ 426339 w 1094532"/>
                    <a:gd name="connsiteY9" fmla="*/ 392177 h 855473"/>
                    <a:gd name="connsiteX10" fmla="*/ 327184 w 1094532"/>
                    <a:gd name="connsiteY10" fmla="*/ 561627 h 855473"/>
                    <a:gd name="connsiteX11" fmla="*/ 333661 w 1094532"/>
                    <a:gd name="connsiteY11" fmla="*/ 729077 h 855473"/>
                    <a:gd name="connsiteX12" fmla="*/ 206788 w 1094532"/>
                    <a:gd name="connsiteY12" fmla="*/ 855283 h 855473"/>
                    <a:gd name="connsiteX13" fmla="*/ 206502 w 1094532"/>
                    <a:gd name="connsiteY13" fmla="*/ 855473 h 855473"/>
                    <a:gd name="connsiteX14" fmla="*/ 34671 w 1094532"/>
                    <a:gd name="connsiteY14" fmla="*/ 558008 h 855473"/>
                    <a:gd name="connsiteX15" fmla="*/ 35243 w 1094532"/>
                    <a:gd name="connsiteY15" fmla="*/ 543530 h 855473"/>
                    <a:gd name="connsiteX16" fmla="*/ 35814 w 1094532"/>
                    <a:gd name="connsiteY16" fmla="*/ 534767 h 855473"/>
                    <a:gd name="connsiteX17" fmla="*/ 36862 w 1094532"/>
                    <a:gd name="connsiteY17" fmla="*/ 523622 h 855473"/>
                    <a:gd name="connsiteX18" fmla="*/ 38100 w 1094532"/>
                    <a:gd name="connsiteY18" fmla="*/ 514002 h 855473"/>
                    <a:gd name="connsiteX19" fmla="*/ 41243 w 1094532"/>
                    <a:gd name="connsiteY19" fmla="*/ 494952 h 855473"/>
                    <a:gd name="connsiteX20" fmla="*/ 42577 w 1094532"/>
                    <a:gd name="connsiteY20" fmla="*/ 488189 h 855473"/>
                    <a:gd name="connsiteX21" fmla="*/ 58674 w 1094532"/>
                    <a:gd name="connsiteY21" fmla="*/ 434183 h 855473"/>
                    <a:gd name="connsiteX22" fmla="*/ 64961 w 1094532"/>
                    <a:gd name="connsiteY22" fmla="*/ 419133 h 855473"/>
                    <a:gd name="connsiteX23" fmla="*/ 69628 w 1094532"/>
                    <a:gd name="connsiteY23" fmla="*/ 409037 h 855473"/>
                    <a:gd name="connsiteX24" fmla="*/ 73247 w 1094532"/>
                    <a:gd name="connsiteY24" fmla="*/ 401702 h 855473"/>
                    <a:gd name="connsiteX25" fmla="*/ 73628 w 1094532"/>
                    <a:gd name="connsiteY25" fmla="*/ 401131 h 855473"/>
                    <a:gd name="connsiteX26" fmla="*/ 0 w 1094532"/>
                    <a:gd name="connsiteY26" fmla="*/ 455614 h 855473"/>
                    <a:gd name="connsiteX27" fmla="*/ 172212 w 1094532"/>
                    <a:gd name="connsiteY27" fmla="*/ 282354 h 855473"/>
                    <a:gd name="connsiteX28" fmla="*/ 286798 w 1094532"/>
                    <a:gd name="connsiteY28" fmla="*/ 65851 h 855473"/>
                    <a:gd name="connsiteX29" fmla="*/ 227648 w 1094532"/>
                    <a:gd name="connsiteY29" fmla="*/ 200820 h 855473"/>
                    <a:gd name="connsiteX30" fmla="*/ 238506 w 1094532"/>
                    <a:gd name="connsiteY30" fmla="*/ 185009 h 855473"/>
                    <a:gd name="connsiteX31" fmla="*/ 241459 w 1094532"/>
                    <a:gd name="connsiteY31" fmla="*/ 181103 h 855473"/>
                    <a:gd name="connsiteX32" fmla="*/ 249555 w 1094532"/>
                    <a:gd name="connsiteY32" fmla="*/ 170816 h 855473"/>
                    <a:gd name="connsiteX33" fmla="*/ 253937 w 1094532"/>
                    <a:gd name="connsiteY33" fmla="*/ 165578 h 855473"/>
                    <a:gd name="connsiteX34" fmla="*/ 258509 w 1094532"/>
                    <a:gd name="connsiteY34" fmla="*/ 160339 h 855473"/>
                    <a:gd name="connsiteX35" fmla="*/ 268510 w 1094532"/>
                    <a:gd name="connsiteY35" fmla="*/ 149576 h 855473"/>
                    <a:gd name="connsiteX36" fmla="*/ 275273 w 1094532"/>
                    <a:gd name="connsiteY36" fmla="*/ 142813 h 855473"/>
                    <a:gd name="connsiteX37" fmla="*/ 279559 w 1094532"/>
                    <a:gd name="connsiteY37" fmla="*/ 138717 h 855473"/>
                    <a:gd name="connsiteX38" fmla="*/ 285464 w 1094532"/>
                    <a:gd name="connsiteY38" fmla="*/ 133288 h 855473"/>
                    <a:gd name="connsiteX39" fmla="*/ 306610 w 1094532"/>
                    <a:gd name="connsiteY39" fmla="*/ 115571 h 855473"/>
                    <a:gd name="connsiteX40" fmla="*/ 315278 w 1094532"/>
                    <a:gd name="connsiteY40" fmla="*/ 108904 h 855473"/>
                    <a:gd name="connsiteX41" fmla="*/ 321374 w 1094532"/>
                    <a:gd name="connsiteY41" fmla="*/ 104522 h 855473"/>
                    <a:gd name="connsiteX42" fmla="*/ 326612 w 1094532"/>
                    <a:gd name="connsiteY42" fmla="*/ 100808 h 855473"/>
                    <a:gd name="connsiteX43" fmla="*/ 334423 w 1094532"/>
                    <a:gd name="connsiteY43" fmla="*/ 95569 h 855473"/>
                    <a:gd name="connsiteX44" fmla="*/ 351092 w 1094532"/>
                    <a:gd name="connsiteY44" fmla="*/ 85091 h 855473"/>
                    <a:gd name="connsiteX45" fmla="*/ 442341 w 1094532"/>
                    <a:gd name="connsiteY45" fmla="*/ 42038 h 855473"/>
                    <a:gd name="connsiteX46" fmla="*/ 453295 w 1094532"/>
                    <a:gd name="connsiteY46" fmla="*/ 38133 h 855473"/>
                    <a:gd name="connsiteX47" fmla="*/ 455105 w 1094532"/>
                    <a:gd name="connsiteY47" fmla="*/ 37562 h 855473"/>
                    <a:gd name="connsiteX48" fmla="*/ 465296 w 1094532"/>
                    <a:gd name="connsiteY48" fmla="*/ 34228 h 855473"/>
                    <a:gd name="connsiteX49" fmla="*/ 475869 w 1094532"/>
                    <a:gd name="connsiteY49" fmla="*/ 30894 h 855473"/>
                    <a:gd name="connsiteX50" fmla="*/ 492157 w 1094532"/>
                    <a:gd name="connsiteY50" fmla="*/ 26132 h 855473"/>
                    <a:gd name="connsiteX51" fmla="*/ 511016 w 1094532"/>
                    <a:gd name="connsiteY51" fmla="*/ 21083 h 855473"/>
                    <a:gd name="connsiteX52" fmla="*/ 522923 w 1094532"/>
                    <a:gd name="connsiteY52" fmla="*/ 18226 h 855473"/>
                    <a:gd name="connsiteX53" fmla="*/ 532448 w 1094532"/>
                    <a:gd name="connsiteY53" fmla="*/ 16035 h 855473"/>
                    <a:gd name="connsiteX54" fmla="*/ 545306 w 1094532"/>
                    <a:gd name="connsiteY54" fmla="*/ 13273 h 855473"/>
                    <a:gd name="connsiteX55" fmla="*/ 563213 w 1094532"/>
                    <a:gd name="connsiteY55" fmla="*/ 9844 h 855473"/>
                    <a:gd name="connsiteX56" fmla="*/ 957644 w 1094532"/>
                    <a:gd name="connsiteY56" fmla="*/ 92330 h 855473"/>
                    <a:gd name="connsiteX57" fmla="*/ 831056 w 1094532"/>
                    <a:gd name="connsiteY57" fmla="*/ 86330 h 855473"/>
                    <a:gd name="connsiteX58" fmla="*/ 1009174 w 1094532"/>
                    <a:gd name="connsiteY58" fmla="*/ 151004 h 855473"/>
                    <a:gd name="connsiteX59" fmla="*/ 1042988 w 1094532"/>
                    <a:gd name="connsiteY59" fmla="*/ 182913 h 855473"/>
                    <a:gd name="connsiteX60" fmla="*/ 1055656 w 1094532"/>
                    <a:gd name="connsiteY60" fmla="*/ 203582 h 855473"/>
                    <a:gd name="connsiteX61" fmla="*/ 1055942 w 1094532"/>
                    <a:gd name="connsiteY61" fmla="*/ 204059 h 855473"/>
                    <a:gd name="connsiteX62" fmla="*/ 1055942 w 1094532"/>
                    <a:gd name="connsiteY62" fmla="*/ 204059 h 855473"/>
                    <a:gd name="connsiteX63" fmla="*/ 1093280 w 1094532"/>
                    <a:gd name="connsiteY63" fmla="*/ 370841 h 8554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1094532" h="855473">
                      <a:moveTo>
                        <a:pt x="1093375" y="370270"/>
                      </a:moveTo>
                      <a:cubicBezTo>
                        <a:pt x="1093375" y="370270"/>
                        <a:pt x="1077468" y="328455"/>
                        <a:pt x="1034129" y="286640"/>
                      </a:cubicBezTo>
                      <a:cubicBezTo>
                        <a:pt x="1035558" y="289974"/>
                        <a:pt x="1059180" y="342743"/>
                        <a:pt x="1059180" y="402750"/>
                      </a:cubicBezTo>
                      <a:cubicBezTo>
                        <a:pt x="1059180" y="406179"/>
                        <a:pt x="1059180" y="409703"/>
                        <a:pt x="1058894" y="413132"/>
                      </a:cubicBezTo>
                      <a:lnTo>
                        <a:pt x="1058894" y="413132"/>
                      </a:lnTo>
                      <a:cubicBezTo>
                        <a:pt x="1058704" y="416657"/>
                        <a:pt x="1058418" y="420276"/>
                        <a:pt x="1058132" y="423705"/>
                      </a:cubicBezTo>
                      <a:cubicBezTo>
                        <a:pt x="1044416" y="409894"/>
                        <a:pt x="980218" y="349220"/>
                        <a:pt x="912019" y="348172"/>
                      </a:cubicBezTo>
                      <a:cubicBezTo>
                        <a:pt x="912019" y="348172"/>
                        <a:pt x="718185" y="499810"/>
                        <a:pt x="512350" y="401321"/>
                      </a:cubicBezTo>
                      <a:cubicBezTo>
                        <a:pt x="512350" y="401321"/>
                        <a:pt x="527018" y="457614"/>
                        <a:pt x="601790" y="477140"/>
                      </a:cubicBezTo>
                      <a:cubicBezTo>
                        <a:pt x="601790" y="477140"/>
                        <a:pt x="477679" y="492857"/>
                        <a:pt x="426339" y="392177"/>
                      </a:cubicBezTo>
                      <a:cubicBezTo>
                        <a:pt x="426339" y="392177"/>
                        <a:pt x="422529" y="515145"/>
                        <a:pt x="327184" y="561627"/>
                      </a:cubicBezTo>
                      <a:cubicBezTo>
                        <a:pt x="327184" y="561627"/>
                        <a:pt x="371189" y="673546"/>
                        <a:pt x="333661" y="729077"/>
                      </a:cubicBezTo>
                      <a:cubicBezTo>
                        <a:pt x="297371" y="782988"/>
                        <a:pt x="212122" y="851092"/>
                        <a:pt x="206788" y="855283"/>
                      </a:cubicBezTo>
                      <a:lnTo>
                        <a:pt x="206502" y="855473"/>
                      </a:lnTo>
                      <a:cubicBezTo>
                        <a:pt x="206502" y="855473"/>
                        <a:pt x="30385" y="762986"/>
                        <a:pt x="34671" y="558008"/>
                      </a:cubicBezTo>
                      <a:cubicBezTo>
                        <a:pt x="34671" y="553150"/>
                        <a:pt x="34957" y="548292"/>
                        <a:pt x="35243" y="543530"/>
                      </a:cubicBezTo>
                      <a:cubicBezTo>
                        <a:pt x="35433" y="540577"/>
                        <a:pt x="35624" y="537719"/>
                        <a:pt x="35814" y="534767"/>
                      </a:cubicBezTo>
                      <a:cubicBezTo>
                        <a:pt x="36100" y="531052"/>
                        <a:pt x="36386" y="527242"/>
                        <a:pt x="36862" y="523622"/>
                      </a:cubicBezTo>
                      <a:cubicBezTo>
                        <a:pt x="37243" y="520384"/>
                        <a:pt x="37624" y="517241"/>
                        <a:pt x="38100" y="514002"/>
                      </a:cubicBezTo>
                      <a:cubicBezTo>
                        <a:pt x="38957" y="507525"/>
                        <a:pt x="40005" y="501143"/>
                        <a:pt x="41243" y="494952"/>
                      </a:cubicBezTo>
                      <a:lnTo>
                        <a:pt x="42577" y="488189"/>
                      </a:lnTo>
                      <a:cubicBezTo>
                        <a:pt x="46768" y="468854"/>
                        <a:pt x="52197" y="450851"/>
                        <a:pt x="58674" y="434183"/>
                      </a:cubicBezTo>
                      <a:cubicBezTo>
                        <a:pt x="60674" y="429039"/>
                        <a:pt x="62865" y="424086"/>
                        <a:pt x="64961" y="419133"/>
                      </a:cubicBezTo>
                      <a:cubicBezTo>
                        <a:pt x="66389" y="415704"/>
                        <a:pt x="68008" y="412275"/>
                        <a:pt x="69628" y="409037"/>
                      </a:cubicBezTo>
                      <a:cubicBezTo>
                        <a:pt x="70866" y="406560"/>
                        <a:pt x="72009" y="404084"/>
                        <a:pt x="73247" y="401702"/>
                      </a:cubicBezTo>
                      <a:cubicBezTo>
                        <a:pt x="73438" y="401417"/>
                        <a:pt x="73533" y="401226"/>
                        <a:pt x="73628" y="401131"/>
                      </a:cubicBezTo>
                      <a:cubicBezTo>
                        <a:pt x="36576" y="412942"/>
                        <a:pt x="0" y="455614"/>
                        <a:pt x="0" y="455614"/>
                      </a:cubicBezTo>
                      <a:cubicBezTo>
                        <a:pt x="26003" y="293213"/>
                        <a:pt x="172212" y="282354"/>
                        <a:pt x="172212" y="282354"/>
                      </a:cubicBezTo>
                      <a:cubicBezTo>
                        <a:pt x="138113" y="162815"/>
                        <a:pt x="282797" y="68423"/>
                        <a:pt x="286798" y="65851"/>
                      </a:cubicBezTo>
                      <a:cubicBezTo>
                        <a:pt x="243459" y="117095"/>
                        <a:pt x="230886" y="168816"/>
                        <a:pt x="227648" y="200820"/>
                      </a:cubicBezTo>
                      <a:cubicBezTo>
                        <a:pt x="230981" y="195677"/>
                        <a:pt x="234506" y="190438"/>
                        <a:pt x="238506" y="185009"/>
                      </a:cubicBezTo>
                      <a:cubicBezTo>
                        <a:pt x="239459" y="183675"/>
                        <a:pt x="240411" y="182437"/>
                        <a:pt x="241459" y="181103"/>
                      </a:cubicBezTo>
                      <a:cubicBezTo>
                        <a:pt x="243935" y="177770"/>
                        <a:pt x="246698" y="174245"/>
                        <a:pt x="249555" y="170816"/>
                      </a:cubicBezTo>
                      <a:cubicBezTo>
                        <a:pt x="250984" y="169007"/>
                        <a:pt x="252413" y="167292"/>
                        <a:pt x="253937" y="165578"/>
                      </a:cubicBezTo>
                      <a:cubicBezTo>
                        <a:pt x="255365" y="163863"/>
                        <a:pt x="256985" y="162053"/>
                        <a:pt x="258509" y="160339"/>
                      </a:cubicBezTo>
                      <a:cubicBezTo>
                        <a:pt x="261747" y="156815"/>
                        <a:pt x="264986" y="153195"/>
                        <a:pt x="268510" y="149576"/>
                      </a:cubicBezTo>
                      <a:cubicBezTo>
                        <a:pt x="270701" y="147290"/>
                        <a:pt x="272891" y="145099"/>
                        <a:pt x="275273" y="142813"/>
                      </a:cubicBezTo>
                      <a:cubicBezTo>
                        <a:pt x="276701" y="141384"/>
                        <a:pt x="278130" y="140051"/>
                        <a:pt x="279559" y="138717"/>
                      </a:cubicBezTo>
                      <a:cubicBezTo>
                        <a:pt x="281559" y="136907"/>
                        <a:pt x="283464" y="135098"/>
                        <a:pt x="285464" y="133288"/>
                      </a:cubicBezTo>
                      <a:cubicBezTo>
                        <a:pt x="292037" y="127287"/>
                        <a:pt x="299085" y="121382"/>
                        <a:pt x="306610" y="115571"/>
                      </a:cubicBezTo>
                      <a:cubicBezTo>
                        <a:pt x="309372" y="113190"/>
                        <a:pt x="312325" y="111095"/>
                        <a:pt x="315278" y="108904"/>
                      </a:cubicBezTo>
                      <a:cubicBezTo>
                        <a:pt x="317278" y="107475"/>
                        <a:pt x="319278" y="105951"/>
                        <a:pt x="321374" y="104522"/>
                      </a:cubicBezTo>
                      <a:cubicBezTo>
                        <a:pt x="323088" y="103284"/>
                        <a:pt x="324803" y="102141"/>
                        <a:pt x="326612" y="100808"/>
                      </a:cubicBezTo>
                      <a:cubicBezTo>
                        <a:pt x="329089" y="99093"/>
                        <a:pt x="331756" y="97283"/>
                        <a:pt x="334423" y="95569"/>
                      </a:cubicBezTo>
                      <a:cubicBezTo>
                        <a:pt x="339757" y="92045"/>
                        <a:pt x="345377" y="88520"/>
                        <a:pt x="351092" y="85091"/>
                      </a:cubicBezTo>
                      <a:cubicBezTo>
                        <a:pt x="377000" y="69470"/>
                        <a:pt x="407194" y="54897"/>
                        <a:pt x="442341" y="42038"/>
                      </a:cubicBezTo>
                      <a:cubicBezTo>
                        <a:pt x="445865" y="40610"/>
                        <a:pt x="449485" y="39371"/>
                        <a:pt x="453295" y="38133"/>
                      </a:cubicBezTo>
                      <a:cubicBezTo>
                        <a:pt x="453866" y="37847"/>
                        <a:pt x="454533" y="37657"/>
                        <a:pt x="455105" y="37562"/>
                      </a:cubicBezTo>
                      <a:cubicBezTo>
                        <a:pt x="458438" y="36323"/>
                        <a:pt x="461867" y="35180"/>
                        <a:pt x="465296" y="34228"/>
                      </a:cubicBezTo>
                      <a:cubicBezTo>
                        <a:pt x="468725" y="32990"/>
                        <a:pt x="472345" y="31847"/>
                        <a:pt x="475869" y="30894"/>
                      </a:cubicBezTo>
                      <a:cubicBezTo>
                        <a:pt x="481203" y="29275"/>
                        <a:pt x="486632" y="27656"/>
                        <a:pt x="492157" y="26132"/>
                      </a:cubicBezTo>
                      <a:cubicBezTo>
                        <a:pt x="498348" y="24417"/>
                        <a:pt x="504635" y="22703"/>
                        <a:pt x="511016" y="21083"/>
                      </a:cubicBezTo>
                      <a:cubicBezTo>
                        <a:pt x="514922" y="20131"/>
                        <a:pt x="518827" y="19178"/>
                        <a:pt x="522923" y="18226"/>
                      </a:cubicBezTo>
                      <a:cubicBezTo>
                        <a:pt x="526066" y="17464"/>
                        <a:pt x="529209" y="16797"/>
                        <a:pt x="532448" y="16035"/>
                      </a:cubicBezTo>
                      <a:cubicBezTo>
                        <a:pt x="536734" y="15083"/>
                        <a:pt x="540925" y="14130"/>
                        <a:pt x="545306" y="13273"/>
                      </a:cubicBezTo>
                      <a:cubicBezTo>
                        <a:pt x="551212" y="12035"/>
                        <a:pt x="557213" y="10892"/>
                        <a:pt x="563213" y="9844"/>
                      </a:cubicBezTo>
                      <a:cubicBezTo>
                        <a:pt x="725615" y="-19684"/>
                        <a:pt x="863251" y="19940"/>
                        <a:pt x="957644" y="92330"/>
                      </a:cubicBezTo>
                      <a:cubicBezTo>
                        <a:pt x="957644" y="92330"/>
                        <a:pt x="881539" y="77662"/>
                        <a:pt x="831056" y="86330"/>
                      </a:cubicBezTo>
                      <a:cubicBezTo>
                        <a:pt x="831056" y="86330"/>
                        <a:pt x="940022" y="101189"/>
                        <a:pt x="1009174" y="151004"/>
                      </a:cubicBezTo>
                      <a:cubicBezTo>
                        <a:pt x="1022128" y="160339"/>
                        <a:pt x="1033748" y="170912"/>
                        <a:pt x="1042988" y="182913"/>
                      </a:cubicBezTo>
                      <a:cubicBezTo>
                        <a:pt x="1047464" y="189676"/>
                        <a:pt x="1051751" y="196629"/>
                        <a:pt x="1055656" y="203582"/>
                      </a:cubicBezTo>
                      <a:cubicBezTo>
                        <a:pt x="1055656" y="203773"/>
                        <a:pt x="1055846" y="203868"/>
                        <a:pt x="1055942" y="204059"/>
                      </a:cubicBezTo>
                      <a:lnTo>
                        <a:pt x="1055942" y="204059"/>
                      </a:lnTo>
                      <a:cubicBezTo>
                        <a:pt x="1085469" y="256732"/>
                        <a:pt x="1098899" y="314358"/>
                        <a:pt x="1093280" y="370841"/>
                      </a:cubicBezTo>
                      <a:close/>
                    </a:path>
                  </a:pathLst>
                </a:custGeom>
                <a:solidFill>
                  <a:srgbClr val="72412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  <p:grpSp>
              <p:nvGrpSpPr>
                <p:cNvPr id="81" name="Graphic 1665">
                  <a:extLst>
                    <a:ext uri="{FF2B5EF4-FFF2-40B4-BE49-F238E27FC236}">
                      <a16:creationId xmlns:a16="http://schemas.microsoft.com/office/drawing/2014/main" id="{4DD3AD9D-8238-3C45-F698-80CBA215A7C2}"/>
                    </a:ext>
                  </a:extLst>
                </p:cNvPr>
                <p:cNvGrpSpPr/>
                <p:nvPr>
                  <p:custDataLst>
                    <p:tags r:id="rId32"/>
                  </p:custDataLst>
                </p:nvPr>
              </p:nvGrpSpPr>
              <p:grpSpPr>
                <a:xfrm>
                  <a:off x="5389911" y="2391963"/>
                  <a:ext cx="1104978" cy="563517"/>
                  <a:chOff x="5389911" y="2391963"/>
                  <a:chExt cx="1104978" cy="563517"/>
                </a:xfrm>
                <a:solidFill>
                  <a:srgbClr val="5A2823"/>
                </a:solidFill>
              </p:grpSpPr>
              <p:sp>
                <p:nvSpPr>
                  <p:cNvPr id="82" name="Freeform: Shape 81">
                    <a:extLst>
                      <a:ext uri="{FF2B5EF4-FFF2-40B4-BE49-F238E27FC236}">
                        <a16:creationId xmlns:a16="http://schemas.microsoft.com/office/drawing/2014/main" id="{7968F780-A10F-DD34-9B3E-787017E199C8}"/>
                      </a:ext>
                    </a:extLst>
                  </p:cNvPr>
                  <p:cNvSpPr/>
                  <p:nvPr>
                    <p:custDataLst>
                      <p:tags r:id="rId33"/>
                    </p:custDataLst>
                  </p:nvPr>
                </p:nvSpPr>
                <p:spPr>
                  <a:xfrm>
                    <a:off x="6213157" y="2612897"/>
                    <a:ext cx="158876" cy="110489"/>
                  </a:xfrm>
                  <a:custGeom>
                    <a:avLst/>
                    <a:gdLst>
                      <a:gd name="connsiteX0" fmla="*/ 97536 w 158876"/>
                      <a:gd name="connsiteY0" fmla="*/ 110395 h 110489"/>
                      <a:gd name="connsiteX1" fmla="*/ 112585 w 158876"/>
                      <a:gd name="connsiteY1" fmla="*/ 88487 h 110489"/>
                      <a:gd name="connsiteX2" fmla="*/ 124777 w 158876"/>
                      <a:gd name="connsiteY2" fmla="*/ 65532 h 110489"/>
                      <a:gd name="connsiteX3" fmla="*/ 133826 w 158876"/>
                      <a:gd name="connsiteY3" fmla="*/ 41720 h 110489"/>
                      <a:gd name="connsiteX4" fmla="*/ 138970 w 158876"/>
                      <a:gd name="connsiteY4" fmla="*/ 17240 h 110489"/>
                      <a:gd name="connsiteX5" fmla="*/ 152400 w 158876"/>
                      <a:gd name="connsiteY5" fmla="*/ 24955 h 110489"/>
                      <a:gd name="connsiteX6" fmla="*/ 116681 w 158876"/>
                      <a:gd name="connsiteY6" fmla="*/ 44577 h 110489"/>
                      <a:gd name="connsiteX7" fmla="*/ 77914 w 158876"/>
                      <a:gd name="connsiteY7" fmla="*/ 54864 h 110489"/>
                      <a:gd name="connsiteX8" fmla="*/ 0 w 158876"/>
                      <a:gd name="connsiteY8" fmla="*/ 45434 h 110489"/>
                      <a:gd name="connsiteX9" fmla="*/ 75152 w 158876"/>
                      <a:gd name="connsiteY9" fmla="*/ 40196 h 110489"/>
                      <a:gd name="connsiteX10" fmla="*/ 110204 w 158876"/>
                      <a:gd name="connsiteY10" fmla="*/ 28861 h 110489"/>
                      <a:gd name="connsiteX11" fmla="*/ 142113 w 158876"/>
                      <a:gd name="connsiteY11" fmla="*/ 11811 h 110489"/>
                      <a:gd name="connsiteX12" fmla="*/ 158877 w 158876"/>
                      <a:gd name="connsiteY12" fmla="*/ 0 h 110489"/>
                      <a:gd name="connsiteX13" fmla="*/ 155543 w 158876"/>
                      <a:gd name="connsiteY13" fmla="*/ 19622 h 110489"/>
                      <a:gd name="connsiteX14" fmla="*/ 148018 w 158876"/>
                      <a:gd name="connsiteY14" fmla="*/ 46768 h 110489"/>
                      <a:gd name="connsiteX15" fmla="*/ 135255 w 158876"/>
                      <a:gd name="connsiteY15" fmla="*/ 71438 h 110489"/>
                      <a:gd name="connsiteX16" fmla="*/ 118205 w 158876"/>
                      <a:gd name="connsiteY16" fmla="*/ 92964 h 110489"/>
                      <a:gd name="connsiteX17" fmla="*/ 97441 w 158876"/>
                      <a:gd name="connsiteY17" fmla="*/ 110490 h 1104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58876" h="110488">
                        <a:moveTo>
                          <a:pt x="97536" y="110395"/>
                        </a:moveTo>
                        <a:cubicBezTo>
                          <a:pt x="103060" y="103251"/>
                          <a:pt x="108013" y="95917"/>
                          <a:pt x="112585" y="88487"/>
                        </a:cubicBezTo>
                        <a:cubicBezTo>
                          <a:pt x="117062" y="80963"/>
                          <a:pt x="121348" y="73438"/>
                          <a:pt x="124777" y="65532"/>
                        </a:cubicBezTo>
                        <a:cubicBezTo>
                          <a:pt x="128588" y="57817"/>
                          <a:pt x="131350" y="49721"/>
                          <a:pt x="133826" y="41720"/>
                        </a:cubicBezTo>
                        <a:cubicBezTo>
                          <a:pt x="136588" y="33719"/>
                          <a:pt x="137636" y="25432"/>
                          <a:pt x="138970" y="17240"/>
                        </a:cubicBezTo>
                        <a:lnTo>
                          <a:pt x="152400" y="24955"/>
                        </a:lnTo>
                        <a:cubicBezTo>
                          <a:pt x="140875" y="33528"/>
                          <a:pt x="129350" y="39624"/>
                          <a:pt x="116681" y="44577"/>
                        </a:cubicBezTo>
                        <a:cubicBezTo>
                          <a:pt x="104204" y="49625"/>
                          <a:pt x="91154" y="52959"/>
                          <a:pt x="77914" y="54864"/>
                        </a:cubicBezTo>
                        <a:cubicBezTo>
                          <a:pt x="51435" y="58483"/>
                          <a:pt x="24098" y="55626"/>
                          <a:pt x="0" y="45434"/>
                        </a:cubicBezTo>
                        <a:cubicBezTo>
                          <a:pt x="26003" y="47244"/>
                          <a:pt x="51149" y="46101"/>
                          <a:pt x="75152" y="40196"/>
                        </a:cubicBezTo>
                        <a:cubicBezTo>
                          <a:pt x="87249" y="37433"/>
                          <a:pt x="98869" y="33528"/>
                          <a:pt x="110204" y="28861"/>
                        </a:cubicBezTo>
                        <a:cubicBezTo>
                          <a:pt x="121253" y="24003"/>
                          <a:pt x="132779" y="18288"/>
                          <a:pt x="142113" y="11811"/>
                        </a:cubicBezTo>
                        <a:lnTo>
                          <a:pt x="158877" y="0"/>
                        </a:lnTo>
                        <a:lnTo>
                          <a:pt x="155543" y="19622"/>
                        </a:lnTo>
                        <a:cubicBezTo>
                          <a:pt x="153924" y="28956"/>
                          <a:pt x="151543" y="38100"/>
                          <a:pt x="148018" y="46768"/>
                        </a:cubicBezTo>
                        <a:cubicBezTo>
                          <a:pt x="144685" y="55531"/>
                          <a:pt x="140208" y="63722"/>
                          <a:pt x="135255" y="71438"/>
                        </a:cubicBezTo>
                        <a:cubicBezTo>
                          <a:pt x="130112" y="79057"/>
                          <a:pt x="124587" y="86392"/>
                          <a:pt x="118205" y="92964"/>
                        </a:cubicBezTo>
                        <a:cubicBezTo>
                          <a:pt x="111919" y="99536"/>
                          <a:pt x="105061" y="105537"/>
                          <a:pt x="97441" y="110490"/>
                        </a:cubicBezTo>
                        <a:close/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r" defTabSz="711200" rtl="1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akkal Majalla" panose="02000000000000000000" pitchFamily="2" charset="-78"/>
                      <a:ea typeface="+mn-ea"/>
                      <a:cs typeface="Sakkal Majalla" panose="02000000000000000000" pitchFamily="2" charset="-78"/>
                    </a:endParaRPr>
                  </a:p>
                </p:txBody>
              </p:sp>
              <p:sp>
                <p:nvSpPr>
                  <p:cNvPr id="83" name="Freeform: Shape 82">
                    <a:extLst>
                      <a:ext uri="{FF2B5EF4-FFF2-40B4-BE49-F238E27FC236}">
                        <a16:creationId xmlns:a16="http://schemas.microsoft.com/office/drawing/2014/main" id="{67BD0ED7-E153-5BFF-BA4F-EA864E0B9768}"/>
                      </a:ext>
                    </a:extLst>
                  </p:cNvPr>
                  <p:cNvSpPr/>
                  <p:nvPr>
                    <p:custDataLst>
                      <p:tags r:id="rId34"/>
                    </p:custDataLst>
                  </p:nvPr>
                </p:nvSpPr>
                <p:spPr>
                  <a:xfrm>
                    <a:off x="5599461" y="2845593"/>
                    <a:ext cx="126491" cy="109887"/>
                  </a:xfrm>
                  <a:custGeom>
                    <a:avLst/>
                    <a:gdLst>
                      <a:gd name="connsiteX0" fmla="*/ 126397 w 126491"/>
                      <a:gd name="connsiteY0" fmla="*/ 91059 h 109887"/>
                      <a:gd name="connsiteX1" fmla="*/ 102965 w 126491"/>
                      <a:gd name="connsiteY1" fmla="*/ 102679 h 109887"/>
                      <a:gd name="connsiteX2" fmla="*/ 77153 w 126491"/>
                      <a:gd name="connsiteY2" fmla="*/ 108680 h 109887"/>
                      <a:gd name="connsiteX3" fmla="*/ 50483 w 126491"/>
                      <a:gd name="connsiteY3" fmla="*/ 109538 h 109887"/>
                      <a:gd name="connsiteX4" fmla="*/ 24003 w 126491"/>
                      <a:gd name="connsiteY4" fmla="*/ 105823 h 109887"/>
                      <a:gd name="connsiteX5" fmla="*/ 0 w 126491"/>
                      <a:gd name="connsiteY5" fmla="*/ 100679 h 109887"/>
                      <a:gd name="connsiteX6" fmla="*/ 22860 w 126491"/>
                      <a:gd name="connsiteY6" fmla="*/ 89725 h 109887"/>
                      <a:gd name="connsiteX7" fmla="*/ 47625 w 126491"/>
                      <a:gd name="connsiteY7" fmla="*/ 74581 h 109887"/>
                      <a:gd name="connsiteX8" fmla="*/ 68961 w 126491"/>
                      <a:gd name="connsiteY8" fmla="*/ 54292 h 109887"/>
                      <a:gd name="connsiteX9" fmla="*/ 85154 w 126491"/>
                      <a:gd name="connsiteY9" fmla="*/ 29337 h 109887"/>
                      <a:gd name="connsiteX10" fmla="*/ 95441 w 126491"/>
                      <a:gd name="connsiteY10" fmla="*/ 0 h 109887"/>
                      <a:gd name="connsiteX11" fmla="*/ 93821 w 126491"/>
                      <a:gd name="connsiteY11" fmla="*/ 32290 h 109887"/>
                      <a:gd name="connsiteX12" fmla="*/ 88678 w 126491"/>
                      <a:gd name="connsiteY12" fmla="*/ 48101 h 109887"/>
                      <a:gd name="connsiteX13" fmla="*/ 80582 w 126491"/>
                      <a:gd name="connsiteY13" fmla="*/ 62770 h 109887"/>
                      <a:gd name="connsiteX14" fmla="*/ 58198 w 126491"/>
                      <a:gd name="connsiteY14" fmla="*/ 87630 h 109887"/>
                      <a:gd name="connsiteX15" fmla="*/ 29337 w 126491"/>
                      <a:gd name="connsiteY15" fmla="*/ 105346 h 109887"/>
                      <a:gd name="connsiteX16" fmla="*/ 28194 w 126491"/>
                      <a:gd name="connsiteY16" fmla="*/ 89249 h 109887"/>
                      <a:gd name="connsiteX17" fmla="*/ 52102 w 126491"/>
                      <a:gd name="connsiteY17" fmla="*/ 93917 h 109887"/>
                      <a:gd name="connsiteX18" fmla="*/ 76581 w 126491"/>
                      <a:gd name="connsiteY18" fmla="*/ 95917 h 109887"/>
                      <a:gd name="connsiteX19" fmla="*/ 126492 w 126491"/>
                      <a:gd name="connsiteY19" fmla="*/ 90964 h 1098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126491" h="109887">
                        <a:moveTo>
                          <a:pt x="126397" y="91059"/>
                        </a:moveTo>
                        <a:cubicBezTo>
                          <a:pt x="119348" y="96202"/>
                          <a:pt x="111252" y="99822"/>
                          <a:pt x="102965" y="102679"/>
                        </a:cubicBezTo>
                        <a:cubicBezTo>
                          <a:pt x="94679" y="105442"/>
                          <a:pt x="86011" y="107633"/>
                          <a:pt x="77153" y="108680"/>
                        </a:cubicBezTo>
                        <a:cubicBezTo>
                          <a:pt x="68390" y="109728"/>
                          <a:pt x="59436" y="110300"/>
                          <a:pt x="50483" y="109538"/>
                        </a:cubicBezTo>
                        <a:cubicBezTo>
                          <a:pt x="41529" y="109252"/>
                          <a:pt x="32766" y="107728"/>
                          <a:pt x="24003" y="105823"/>
                        </a:cubicBezTo>
                        <a:lnTo>
                          <a:pt x="0" y="100679"/>
                        </a:lnTo>
                        <a:lnTo>
                          <a:pt x="22860" y="89725"/>
                        </a:lnTo>
                        <a:cubicBezTo>
                          <a:pt x="30956" y="85820"/>
                          <a:pt x="39910" y="80486"/>
                          <a:pt x="47625" y="74581"/>
                        </a:cubicBezTo>
                        <a:cubicBezTo>
                          <a:pt x="55340" y="68485"/>
                          <a:pt x="62675" y="61913"/>
                          <a:pt x="68961" y="54292"/>
                        </a:cubicBezTo>
                        <a:cubicBezTo>
                          <a:pt x="75438" y="46863"/>
                          <a:pt x="80867" y="38481"/>
                          <a:pt x="85154" y="29337"/>
                        </a:cubicBezTo>
                        <a:cubicBezTo>
                          <a:pt x="89916" y="20288"/>
                          <a:pt x="92393" y="10382"/>
                          <a:pt x="95441" y="0"/>
                        </a:cubicBezTo>
                        <a:cubicBezTo>
                          <a:pt x="96679" y="10573"/>
                          <a:pt x="96583" y="21622"/>
                          <a:pt x="93821" y="32290"/>
                        </a:cubicBezTo>
                        <a:cubicBezTo>
                          <a:pt x="92774" y="37719"/>
                          <a:pt x="90583" y="42863"/>
                          <a:pt x="88678" y="48101"/>
                        </a:cubicBezTo>
                        <a:cubicBezTo>
                          <a:pt x="86106" y="53054"/>
                          <a:pt x="83725" y="58102"/>
                          <a:pt x="80582" y="62770"/>
                        </a:cubicBezTo>
                        <a:cubicBezTo>
                          <a:pt x="74295" y="72009"/>
                          <a:pt x="66866" y="80581"/>
                          <a:pt x="58198" y="87630"/>
                        </a:cubicBezTo>
                        <a:cubicBezTo>
                          <a:pt x="49435" y="94679"/>
                          <a:pt x="40481" y="100775"/>
                          <a:pt x="29337" y="105346"/>
                        </a:cubicBezTo>
                        <a:lnTo>
                          <a:pt x="28194" y="89249"/>
                        </a:lnTo>
                        <a:cubicBezTo>
                          <a:pt x="36100" y="91059"/>
                          <a:pt x="44101" y="92773"/>
                          <a:pt x="52102" y="93917"/>
                        </a:cubicBezTo>
                        <a:cubicBezTo>
                          <a:pt x="60198" y="95155"/>
                          <a:pt x="68294" y="95631"/>
                          <a:pt x="76581" y="95917"/>
                        </a:cubicBezTo>
                        <a:cubicBezTo>
                          <a:pt x="93059" y="96202"/>
                          <a:pt x="109728" y="94964"/>
                          <a:pt x="126492" y="90964"/>
                        </a:cubicBezTo>
                        <a:close/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r" defTabSz="711200" rtl="1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akkal Majalla" panose="02000000000000000000" pitchFamily="2" charset="-78"/>
                      <a:ea typeface="+mn-ea"/>
                      <a:cs typeface="Sakkal Majalla" panose="02000000000000000000" pitchFamily="2" charset="-78"/>
                    </a:endParaRPr>
                  </a:p>
                </p:txBody>
              </p:sp>
              <p:sp>
                <p:nvSpPr>
                  <p:cNvPr id="84" name="Freeform: Shape 83">
                    <a:extLst>
                      <a:ext uri="{FF2B5EF4-FFF2-40B4-BE49-F238E27FC236}">
                        <a16:creationId xmlns:a16="http://schemas.microsoft.com/office/drawing/2014/main" id="{23B75EE6-F3D4-20C9-B320-28F903BF05D6}"/>
                      </a:ext>
                    </a:extLst>
                  </p:cNvPr>
                  <p:cNvSpPr/>
                  <p:nvPr>
                    <p:custDataLst>
                      <p:tags r:id="rId35"/>
                    </p:custDataLst>
                  </p:nvPr>
                </p:nvSpPr>
                <p:spPr>
                  <a:xfrm>
                    <a:off x="5883306" y="2743866"/>
                    <a:ext cx="163082" cy="108487"/>
                  </a:xfrm>
                  <a:custGeom>
                    <a:avLst/>
                    <a:gdLst>
                      <a:gd name="connsiteX0" fmla="*/ 27718 w 163082"/>
                      <a:gd name="connsiteY0" fmla="*/ 32480 h 108487"/>
                      <a:gd name="connsiteX1" fmla="*/ 0 w 163082"/>
                      <a:gd name="connsiteY1" fmla="*/ 0 h 108487"/>
                      <a:gd name="connsiteX2" fmla="*/ 117158 w 163082"/>
                      <a:gd name="connsiteY2" fmla="*/ 108299 h 108487"/>
                      <a:gd name="connsiteX3" fmla="*/ 116967 w 163082"/>
                      <a:gd name="connsiteY3" fmla="*/ 86677 h 108487"/>
                      <a:gd name="connsiteX4" fmla="*/ 27718 w 163082"/>
                      <a:gd name="connsiteY4" fmla="*/ 32576 h 1084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3082" h="108486">
                        <a:moveTo>
                          <a:pt x="27718" y="32480"/>
                        </a:moveTo>
                        <a:cubicBezTo>
                          <a:pt x="27718" y="32480"/>
                          <a:pt x="9906" y="20574"/>
                          <a:pt x="0" y="0"/>
                        </a:cubicBezTo>
                        <a:cubicBezTo>
                          <a:pt x="0" y="0"/>
                          <a:pt x="13716" y="113728"/>
                          <a:pt x="117158" y="108299"/>
                        </a:cubicBezTo>
                        <a:cubicBezTo>
                          <a:pt x="220599" y="102870"/>
                          <a:pt x="116967" y="86677"/>
                          <a:pt x="116967" y="86677"/>
                        </a:cubicBezTo>
                        <a:lnTo>
                          <a:pt x="27718" y="32576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r" defTabSz="711200" rtl="1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akkal Majalla" panose="02000000000000000000" pitchFamily="2" charset="-78"/>
                      <a:ea typeface="+mn-ea"/>
                      <a:cs typeface="Sakkal Majalla" panose="02000000000000000000" pitchFamily="2" charset="-78"/>
                    </a:endParaRPr>
                  </a:p>
                </p:txBody>
              </p:sp>
              <p:sp>
                <p:nvSpPr>
                  <p:cNvPr id="85" name="Freeform: Shape 84">
                    <a:extLst>
                      <a:ext uri="{FF2B5EF4-FFF2-40B4-BE49-F238E27FC236}">
                        <a16:creationId xmlns:a16="http://schemas.microsoft.com/office/drawing/2014/main" id="{076B4DA7-43E6-CA31-18A4-0BEA71B508B4}"/>
                      </a:ext>
                    </a:extLst>
                  </p:cNvPr>
                  <p:cNvSpPr/>
                  <p:nvPr>
                    <p:custDataLst>
                      <p:tags r:id="rId36"/>
                    </p:custDataLst>
                  </p:nvPr>
                </p:nvSpPr>
                <p:spPr>
                  <a:xfrm>
                    <a:off x="5389911" y="2719005"/>
                    <a:ext cx="139445" cy="151390"/>
                  </a:xfrm>
                  <a:custGeom>
                    <a:avLst/>
                    <a:gdLst>
                      <a:gd name="connsiteX0" fmla="*/ 82581 w 139445"/>
                      <a:gd name="connsiteY0" fmla="*/ 57055 h 151390"/>
                      <a:gd name="connsiteX1" fmla="*/ 139446 w 139445"/>
                      <a:gd name="connsiteY1" fmla="*/ 0 h 151390"/>
                      <a:gd name="connsiteX2" fmla="*/ 8953 w 139445"/>
                      <a:gd name="connsiteY2" fmla="*/ 111538 h 151390"/>
                      <a:gd name="connsiteX3" fmla="*/ 46863 w 139445"/>
                      <a:gd name="connsiteY3" fmla="*/ 102299 h 151390"/>
                      <a:gd name="connsiteX4" fmla="*/ 82581 w 139445"/>
                      <a:gd name="connsiteY4" fmla="*/ 57055 h 1513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9445" h="151390">
                        <a:moveTo>
                          <a:pt x="82581" y="57055"/>
                        </a:moveTo>
                        <a:cubicBezTo>
                          <a:pt x="82581" y="57055"/>
                          <a:pt x="105822" y="14097"/>
                          <a:pt x="139446" y="0"/>
                        </a:cubicBezTo>
                        <a:cubicBezTo>
                          <a:pt x="139446" y="0"/>
                          <a:pt x="42481" y="16764"/>
                          <a:pt x="8953" y="111538"/>
                        </a:cubicBezTo>
                        <a:cubicBezTo>
                          <a:pt x="-24575" y="206312"/>
                          <a:pt x="46863" y="102299"/>
                          <a:pt x="46863" y="102299"/>
                        </a:cubicBezTo>
                        <a:lnTo>
                          <a:pt x="82581" y="57055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r" defTabSz="711200" rtl="1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akkal Majalla" panose="02000000000000000000" pitchFamily="2" charset="-78"/>
                      <a:ea typeface="+mn-ea"/>
                      <a:cs typeface="Sakkal Majalla" panose="02000000000000000000" pitchFamily="2" charset="-78"/>
                    </a:endParaRPr>
                  </a:p>
                </p:txBody>
              </p:sp>
              <p:sp>
                <p:nvSpPr>
                  <p:cNvPr id="86" name="Freeform: Shape 85">
                    <a:extLst>
                      <a:ext uri="{FF2B5EF4-FFF2-40B4-BE49-F238E27FC236}">
                        <a16:creationId xmlns:a16="http://schemas.microsoft.com/office/drawing/2014/main" id="{280B98F9-4129-7FB6-3A92-ADB066EB93FE}"/>
                      </a:ext>
                    </a:extLst>
                  </p:cNvPr>
                  <p:cNvSpPr/>
                  <p:nvPr>
                    <p:custDataLst>
                      <p:tags r:id="rId37"/>
                    </p:custDataLst>
                  </p:nvPr>
                </p:nvSpPr>
                <p:spPr>
                  <a:xfrm>
                    <a:off x="5520213" y="2391963"/>
                    <a:ext cx="203820" cy="269130"/>
                  </a:xfrm>
                  <a:custGeom>
                    <a:avLst/>
                    <a:gdLst>
                      <a:gd name="connsiteX0" fmla="*/ 50863 w 203820"/>
                      <a:gd name="connsiteY0" fmla="*/ 265320 h 269130"/>
                      <a:gd name="connsiteX1" fmla="*/ 71152 w 203820"/>
                      <a:gd name="connsiteY1" fmla="*/ 269130 h 269130"/>
                      <a:gd name="connsiteX2" fmla="*/ 165544 w 203820"/>
                      <a:gd name="connsiteY2" fmla="*/ 48817 h 269130"/>
                      <a:gd name="connsiteX3" fmla="*/ 79438 w 203820"/>
                      <a:gd name="connsiteY3" fmla="*/ 26338 h 269130"/>
                      <a:gd name="connsiteX4" fmla="*/ 0 w 203820"/>
                      <a:gd name="connsiteY4" fmla="*/ 137495 h 269130"/>
                      <a:gd name="connsiteX5" fmla="*/ 50959 w 203820"/>
                      <a:gd name="connsiteY5" fmla="*/ 265320 h 2691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03817" h="269130">
                        <a:moveTo>
                          <a:pt x="50863" y="265320"/>
                        </a:moveTo>
                        <a:cubicBezTo>
                          <a:pt x="50863" y="265320"/>
                          <a:pt x="61341" y="264273"/>
                          <a:pt x="71152" y="269130"/>
                        </a:cubicBezTo>
                        <a:cubicBezTo>
                          <a:pt x="71152" y="269130"/>
                          <a:pt x="43720" y="143496"/>
                          <a:pt x="165544" y="48817"/>
                        </a:cubicBezTo>
                        <a:cubicBezTo>
                          <a:pt x="287369" y="-45861"/>
                          <a:pt x="79438" y="26338"/>
                          <a:pt x="79438" y="26338"/>
                        </a:cubicBezTo>
                        <a:lnTo>
                          <a:pt x="0" y="137495"/>
                        </a:lnTo>
                        <a:lnTo>
                          <a:pt x="50959" y="265320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r" defTabSz="711200" rtl="1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akkal Majalla" panose="02000000000000000000" pitchFamily="2" charset="-78"/>
                      <a:ea typeface="+mn-ea"/>
                      <a:cs typeface="Sakkal Majalla" panose="02000000000000000000" pitchFamily="2" charset="-78"/>
                    </a:endParaRPr>
                  </a:p>
                </p:txBody>
              </p:sp>
              <p:sp>
                <p:nvSpPr>
                  <p:cNvPr id="87" name="Freeform: Shape 86">
                    <a:extLst>
                      <a:ext uri="{FF2B5EF4-FFF2-40B4-BE49-F238E27FC236}">
                        <a16:creationId xmlns:a16="http://schemas.microsoft.com/office/drawing/2014/main" id="{F10924C7-B1C1-7A38-66FA-E84290B29D5C}"/>
                      </a:ext>
                    </a:extLst>
                  </p:cNvPr>
                  <p:cNvSpPr/>
                  <p:nvPr>
                    <p:custDataLst>
                      <p:tags r:id="rId38"/>
                    </p:custDataLst>
                  </p:nvPr>
                </p:nvSpPr>
                <p:spPr>
                  <a:xfrm>
                    <a:off x="6229825" y="2449680"/>
                    <a:ext cx="178879" cy="37582"/>
                  </a:xfrm>
                  <a:custGeom>
                    <a:avLst/>
                    <a:gdLst>
                      <a:gd name="connsiteX0" fmla="*/ 0 w 178879"/>
                      <a:gd name="connsiteY0" fmla="*/ 11198 h 37582"/>
                      <a:gd name="connsiteX1" fmla="*/ 110871 w 178879"/>
                      <a:gd name="connsiteY1" fmla="*/ 5769 h 37582"/>
                      <a:gd name="connsiteX2" fmla="*/ 178879 w 178879"/>
                      <a:gd name="connsiteY2" fmla="*/ 37583 h 37582"/>
                      <a:gd name="connsiteX3" fmla="*/ 92202 w 178879"/>
                      <a:gd name="connsiteY3" fmla="*/ 27867 h 37582"/>
                      <a:gd name="connsiteX4" fmla="*/ 37243 w 178879"/>
                      <a:gd name="connsiteY4" fmla="*/ 13008 h 37582"/>
                      <a:gd name="connsiteX5" fmla="*/ 0 w 178879"/>
                      <a:gd name="connsiteY5" fmla="*/ 11294 h 375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78879" h="37582">
                        <a:moveTo>
                          <a:pt x="0" y="11198"/>
                        </a:moveTo>
                        <a:cubicBezTo>
                          <a:pt x="0" y="11198"/>
                          <a:pt x="45053" y="-9852"/>
                          <a:pt x="110871" y="5769"/>
                        </a:cubicBezTo>
                        <a:cubicBezTo>
                          <a:pt x="176689" y="21390"/>
                          <a:pt x="178879" y="37583"/>
                          <a:pt x="178879" y="37583"/>
                        </a:cubicBezTo>
                        <a:lnTo>
                          <a:pt x="92202" y="27867"/>
                        </a:lnTo>
                        <a:lnTo>
                          <a:pt x="37243" y="13008"/>
                        </a:lnTo>
                        <a:lnTo>
                          <a:pt x="0" y="11294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r" defTabSz="711200" rtl="1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akkal Majalla" panose="02000000000000000000" pitchFamily="2" charset="-78"/>
                      <a:ea typeface="+mn-ea"/>
                      <a:cs typeface="Sakkal Majalla" panose="02000000000000000000" pitchFamily="2" charset="-78"/>
                    </a:endParaRPr>
                  </a:p>
                </p:txBody>
              </p:sp>
              <p:sp>
                <p:nvSpPr>
                  <p:cNvPr id="88" name="Freeform: Shape 87">
                    <a:extLst>
                      <a:ext uri="{FF2B5EF4-FFF2-40B4-BE49-F238E27FC236}">
                        <a16:creationId xmlns:a16="http://schemas.microsoft.com/office/drawing/2014/main" id="{78648CFB-2A11-618F-23EE-03CF2C165328}"/>
                      </a:ext>
                    </a:extLst>
                  </p:cNvPr>
                  <p:cNvSpPr/>
                  <p:nvPr>
                    <p:custDataLst>
                      <p:tags r:id="rId39"/>
                    </p:custDataLst>
                  </p:nvPr>
                </p:nvSpPr>
                <p:spPr>
                  <a:xfrm>
                    <a:off x="6408895" y="2625565"/>
                    <a:ext cx="85994" cy="156188"/>
                  </a:xfrm>
                  <a:custGeom>
                    <a:avLst/>
                    <a:gdLst>
                      <a:gd name="connsiteX0" fmla="*/ 23813 w 85994"/>
                      <a:gd name="connsiteY0" fmla="*/ 36195 h 156188"/>
                      <a:gd name="connsiteX1" fmla="*/ 0 w 85994"/>
                      <a:gd name="connsiteY1" fmla="*/ 0 h 156188"/>
                      <a:gd name="connsiteX2" fmla="*/ 83058 w 85994"/>
                      <a:gd name="connsiteY2" fmla="*/ 119824 h 156188"/>
                      <a:gd name="connsiteX3" fmla="*/ 61436 w 85994"/>
                      <a:gd name="connsiteY3" fmla="*/ 109728 h 156188"/>
                      <a:gd name="connsiteX4" fmla="*/ 38005 w 85994"/>
                      <a:gd name="connsiteY4" fmla="*/ 58483 h 156188"/>
                      <a:gd name="connsiteX5" fmla="*/ 23813 w 85994"/>
                      <a:gd name="connsiteY5" fmla="*/ 36290 h 1561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85994" h="156188">
                        <a:moveTo>
                          <a:pt x="23813" y="36195"/>
                        </a:moveTo>
                        <a:cubicBezTo>
                          <a:pt x="23813" y="36195"/>
                          <a:pt x="18955" y="22479"/>
                          <a:pt x="0" y="0"/>
                        </a:cubicBezTo>
                        <a:cubicBezTo>
                          <a:pt x="0" y="0"/>
                          <a:pt x="70009" y="32480"/>
                          <a:pt x="83058" y="119824"/>
                        </a:cubicBezTo>
                        <a:cubicBezTo>
                          <a:pt x="96107" y="207169"/>
                          <a:pt x="61436" y="109728"/>
                          <a:pt x="61436" y="109728"/>
                        </a:cubicBezTo>
                        <a:lnTo>
                          <a:pt x="38005" y="58483"/>
                        </a:lnTo>
                        <a:lnTo>
                          <a:pt x="23813" y="36290"/>
                        </a:lnTo>
                      </a:path>
                    </a:pathLst>
                  </a:custGeom>
                  <a:solidFill>
                    <a:srgbClr val="5A2823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177800" marR="0" lvl="0" indent="-177800" algn="r" defTabSz="711200" rtl="1" eaLnBrk="1" fontAlgn="auto" latinLnBrk="0" hangingPunct="1">
                      <a:lnSpc>
                        <a:spcPct val="100000"/>
                      </a:lnSpc>
                      <a:spcBef>
                        <a:spcPts val="12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Char char="•"/>
                      <a:tabLst/>
                      <a:defRPr/>
                    </a:pPr>
                    <a:endParaRPr kumimoji="0" lang="en-US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akkal Majalla" panose="02000000000000000000" pitchFamily="2" charset="-78"/>
                      <a:ea typeface="+mn-ea"/>
                      <a:cs typeface="Sakkal Majalla" panose="02000000000000000000" pitchFamily="2" charset="-78"/>
                    </a:endParaRPr>
                  </a:p>
                </p:txBody>
              </p:sp>
            </p:grpSp>
          </p:grpSp>
          <p:grpSp>
            <p:nvGrpSpPr>
              <p:cNvPr id="77" name="Graphic 1665">
                <a:extLst>
                  <a:ext uri="{FF2B5EF4-FFF2-40B4-BE49-F238E27FC236}">
                    <a16:creationId xmlns:a16="http://schemas.microsoft.com/office/drawing/2014/main" id="{0EE78BD8-84E1-ABCA-7E57-6342C48024D0}"/>
                  </a:ext>
                </a:extLst>
              </p:cNvPr>
              <p:cNvGrpSpPr/>
              <p:nvPr>
                <p:custDataLst>
                  <p:tags r:id="rId28"/>
                </p:custDataLst>
              </p:nvPr>
            </p:nvGrpSpPr>
            <p:grpSpPr>
              <a:xfrm>
                <a:off x="5569111" y="3078167"/>
                <a:ext cx="243352" cy="263593"/>
                <a:chOff x="5569111" y="3078167"/>
                <a:chExt cx="243352" cy="263593"/>
              </a:xfrm>
            </p:grpSpPr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id="{DA2BDDB6-838D-7392-5FCA-604C81C0B469}"/>
                    </a:ext>
                  </a:extLst>
                </p:cNvPr>
                <p:cNvSpPr/>
                <p:nvPr>
                  <p:custDataLst>
                    <p:tags r:id="rId29"/>
                  </p:custDataLst>
                </p:nvPr>
              </p:nvSpPr>
              <p:spPr>
                <a:xfrm>
                  <a:off x="5569111" y="3078167"/>
                  <a:ext cx="243352" cy="263593"/>
                </a:xfrm>
                <a:custGeom>
                  <a:avLst/>
                  <a:gdLst>
                    <a:gd name="connsiteX0" fmla="*/ 173415 w 243352"/>
                    <a:gd name="connsiteY0" fmla="*/ 8979 h 263593"/>
                    <a:gd name="connsiteX1" fmla="*/ 30064 w 243352"/>
                    <a:gd name="connsiteY1" fmla="*/ 37173 h 263593"/>
                    <a:gd name="connsiteX2" fmla="*/ 203229 w 243352"/>
                    <a:gd name="connsiteY2" fmla="*/ 255582 h 263593"/>
                    <a:gd name="connsiteX3" fmla="*/ 241615 w 243352"/>
                    <a:gd name="connsiteY3" fmla="*/ 121660 h 263593"/>
                    <a:gd name="connsiteX4" fmla="*/ 173415 w 243352"/>
                    <a:gd name="connsiteY4" fmla="*/ 9075 h 2635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3352" h="263593">
                      <a:moveTo>
                        <a:pt x="173415" y="8979"/>
                      </a:moveTo>
                      <a:cubicBezTo>
                        <a:pt x="173415" y="8979"/>
                        <a:pt x="88071" y="-24263"/>
                        <a:pt x="30064" y="37173"/>
                      </a:cubicBezTo>
                      <a:cubicBezTo>
                        <a:pt x="-27943" y="98610"/>
                        <a:pt x="-17751" y="306731"/>
                        <a:pt x="203229" y="255582"/>
                      </a:cubicBezTo>
                      <a:cubicBezTo>
                        <a:pt x="209896" y="247581"/>
                        <a:pt x="252378" y="195384"/>
                        <a:pt x="241615" y="121660"/>
                      </a:cubicBezTo>
                      <a:cubicBezTo>
                        <a:pt x="231518" y="52794"/>
                        <a:pt x="182464" y="15647"/>
                        <a:pt x="173415" y="9075"/>
                      </a:cubicBezTo>
                      <a:close/>
                    </a:path>
                  </a:pathLst>
                </a:custGeom>
                <a:solidFill>
                  <a:srgbClr val="FFC1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id="{DC9E2A2B-0264-63EE-4165-8CEC6A5CBB16}"/>
                    </a:ext>
                  </a:extLst>
                </p:cNvPr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5635650" y="3147773"/>
                  <a:ext cx="114115" cy="129076"/>
                </a:xfrm>
                <a:custGeom>
                  <a:avLst/>
                  <a:gdLst>
                    <a:gd name="connsiteX0" fmla="*/ 114020 w 114115"/>
                    <a:gd name="connsiteY0" fmla="*/ 123587 h 129076"/>
                    <a:gd name="connsiteX1" fmla="*/ 83064 w 114115"/>
                    <a:gd name="connsiteY1" fmla="*/ 79201 h 129076"/>
                    <a:gd name="connsiteX2" fmla="*/ 108686 w 114115"/>
                    <a:gd name="connsiteY2" fmla="*/ 25480 h 129076"/>
                    <a:gd name="connsiteX3" fmla="*/ 83540 w 114115"/>
                    <a:gd name="connsiteY3" fmla="*/ 5287 h 129076"/>
                    <a:gd name="connsiteX4" fmla="*/ 37915 w 114115"/>
                    <a:gd name="connsiteY4" fmla="*/ 2429 h 129076"/>
                    <a:gd name="connsiteX5" fmla="*/ 114115 w 114115"/>
                    <a:gd name="connsiteY5" fmla="*/ 123587 h 1290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4115" h="129076">
                      <a:moveTo>
                        <a:pt x="114020" y="123587"/>
                      </a:moveTo>
                      <a:cubicBezTo>
                        <a:pt x="112020" y="122540"/>
                        <a:pt x="86302" y="108824"/>
                        <a:pt x="83064" y="79201"/>
                      </a:cubicBezTo>
                      <a:cubicBezTo>
                        <a:pt x="80778" y="58151"/>
                        <a:pt x="90684" y="37386"/>
                        <a:pt x="108686" y="25480"/>
                      </a:cubicBezTo>
                      <a:cubicBezTo>
                        <a:pt x="104876" y="20432"/>
                        <a:pt x="96970" y="11097"/>
                        <a:pt x="83540" y="5287"/>
                      </a:cubicBezTo>
                      <a:cubicBezTo>
                        <a:pt x="72300" y="429"/>
                        <a:pt x="57251" y="-2238"/>
                        <a:pt x="37915" y="2429"/>
                      </a:cubicBezTo>
                      <a:cubicBezTo>
                        <a:pt x="-26093" y="17955"/>
                        <a:pt x="-14377" y="158258"/>
                        <a:pt x="114115" y="123587"/>
                      </a:cubicBezTo>
                      <a:close/>
                    </a:path>
                  </a:pathLst>
                </a:custGeom>
                <a:solidFill>
                  <a:srgbClr val="CF5F5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</p:grpSp>
        </p:grpSp>
        <p:grpSp>
          <p:nvGrpSpPr>
            <p:cNvPr id="58" name="Graphic 1665">
              <a:extLst>
                <a:ext uri="{FF2B5EF4-FFF2-40B4-BE49-F238E27FC236}">
                  <a16:creationId xmlns:a16="http://schemas.microsoft.com/office/drawing/2014/main" id="{75669AA4-E524-5780-74E4-57948772347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 rot="21109248" flipH="1">
              <a:off x="10762190" y="781893"/>
              <a:ext cx="282494" cy="200939"/>
              <a:chOff x="6292859" y="3310520"/>
              <a:chExt cx="469603" cy="334030"/>
            </a:xfrm>
          </p:grpSpPr>
          <p:grpSp>
            <p:nvGrpSpPr>
              <p:cNvPr id="70" name="Graphic 1665">
                <a:extLst>
                  <a:ext uri="{FF2B5EF4-FFF2-40B4-BE49-F238E27FC236}">
                    <a16:creationId xmlns:a16="http://schemas.microsoft.com/office/drawing/2014/main" id="{BFE878DC-8AE5-F789-1D18-4B32159532EC}"/>
                  </a:ext>
                </a:extLst>
              </p:cNvPr>
              <p:cNvGrpSpPr/>
              <p:nvPr>
                <p:custDataLst>
                  <p:tags r:id="rId21"/>
                </p:custDataLst>
              </p:nvPr>
            </p:nvGrpSpPr>
            <p:grpSpPr>
              <a:xfrm>
                <a:off x="6491478" y="3386041"/>
                <a:ext cx="270984" cy="218426"/>
                <a:chOff x="6491478" y="3386041"/>
                <a:chExt cx="270984" cy="218426"/>
              </a:xfrm>
            </p:grpSpPr>
            <p:sp>
              <p:nvSpPr>
                <p:cNvPr id="72" name="Freeform: Shape 71">
                  <a:extLst>
                    <a:ext uri="{FF2B5EF4-FFF2-40B4-BE49-F238E27FC236}">
                      <a16:creationId xmlns:a16="http://schemas.microsoft.com/office/drawing/2014/main" id="{97DDF614-64FF-8A01-E8F6-EB9C4089585C}"/>
                    </a:ext>
                  </a:extLst>
                </p:cNvPr>
                <p:cNvSpPr/>
                <p:nvPr>
                  <p:custDataLst>
                    <p:tags r:id="rId23"/>
                  </p:custDataLst>
                </p:nvPr>
              </p:nvSpPr>
              <p:spPr>
                <a:xfrm>
                  <a:off x="6491953" y="3386041"/>
                  <a:ext cx="270509" cy="218426"/>
                </a:xfrm>
                <a:custGeom>
                  <a:avLst/>
                  <a:gdLst>
                    <a:gd name="connsiteX0" fmla="*/ 270510 w 270509"/>
                    <a:gd name="connsiteY0" fmla="*/ 191548 h 218426"/>
                    <a:gd name="connsiteX1" fmla="*/ 27718 w 270509"/>
                    <a:gd name="connsiteY1" fmla="*/ 168973 h 218426"/>
                    <a:gd name="connsiteX2" fmla="*/ 0 w 270509"/>
                    <a:gd name="connsiteY2" fmla="*/ 101251 h 218426"/>
                    <a:gd name="connsiteX3" fmla="*/ 105728 w 270509"/>
                    <a:gd name="connsiteY3" fmla="*/ 0 h 218426"/>
                    <a:gd name="connsiteX4" fmla="*/ 142018 w 270509"/>
                    <a:gd name="connsiteY4" fmla="*/ 16764 h 218426"/>
                    <a:gd name="connsiteX5" fmla="*/ 270510 w 270509"/>
                    <a:gd name="connsiteY5" fmla="*/ 191548 h 218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0509" h="218426">
                      <a:moveTo>
                        <a:pt x="270510" y="191548"/>
                      </a:moveTo>
                      <a:cubicBezTo>
                        <a:pt x="179356" y="263176"/>
                        <a:pt x="27718" y="168973"/>
                        <a:pt x="27718" y="168973"/>
                      </a:cubicBezTo>
                      <a:lnTo>
                        <a:pt x="0" y="101251"/>
                      </a:lnTo>
                      <a:lnTo>
                        <a:pt x="105728" y="0"/>
                      </a:lnTo>
                      <a:lnTo>
                        <a:pt x="142018" y="16764"/>
                      </a:lnTo>
                      <a:cubicBezTo>
                        <a:pt x="142018" y="16764"/>
                        <a:pt x="260032" y="100775"/>
                        <a:pt x="270510" y="191548"/>
                      </a:cubicBezTo>
                      <a:close/>
                    </a:path>
                  </a:pathLst>
                </a:custGeom>
                <a:solidFill>
                  <a:srgbClr val="FFC1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  <p:sp>
              <p:nvSpPr>
                <p:cNvPr id="73" name="Freeform: Shape 72">
                  <a:extLst>
                    <a:ext uri="{FF2B5EF4-FFF2-40B4-BE49-F238E27FC236}">
                      <a16:creationId xmlns:a16="http://schemas.microsoft.com/office/drawing/2014/main" id="{F1F292AD-C030-6E04-5B9B-1FF16B00E3FA}"/>
                    </a:ext>
                  </a:extLst>
                </p:cNvPr>
                <p:cNvSpPr/>
                <p:nvPr>
                  <p:custDataLst>
                    <p:tags r:id="rId24"/>
                  </p:custDataLst>
                </p:nvPr>
              </p:nvSpPr>
              <p:spPr>
                <a:xfrm>
                  <a:off x="6491478" y="3468224"/>
                  <a:ext cx="204120" cy="54120"/>
                </a:xfrm>
                <a:custGeom>
                  <a:avLst/>
                  <a:gdLst>
                    <a:gd name="connsiteX0" fmla="*/ 25526 w 204120"/>
                    <a:gd name="connsiteY0" fmla="*/ 32689 h 54120"/>
                    <a:gd name="connsiteX1" fmla="*/ 204120 w 204120"/>
                    <a:gd name="connsiteY1" fmla="*/ 54120 h 54120"/>
                    <a:gd name="connsiteX2" fmla="*/ 46672 w 204120"/>
                    <a:gd name="connsiteY2" fmla="*/ 399 h 54120"/>
                    <a:gd name="connsiteX3" fmla="*/ 25621 w 204120"/>
                    <a:gd name="connsiteY3" fmla="*/ 32594 h 54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04120" h="54120">
                      <a:moveTo>
                        <a:pt x="25526" y="32689"/>
                      </a:moveTo>
                      <a:lnTo>
                        <a:pt x="204120" y="54120"/>
                      </a:lnTo>
                      <a:cubicBezTo>
                        <a:pt x="204120" y="54120"/>
                        <a:pt x="137540" y="-5411"/>
                        <a:pt x="46672" y="399"/>
                      </a:cubicBezTo>
                      <a:cubicBezTo>
                        <a:pt x="-44197" y="6209"/>
                        <a:pt x="25621" y="32594"/>
                        <a:pt x="25621" y="32594"/>
                      </a:cubicBezTo>
                    </a:path>
                  </a:pathLst>
                </a:custGeom>
                <a:solidFill>
                  <a:srgbClr val="FFA97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</p:grp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1C7F51E9-D740-AE8A-A940-184F9A137069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6292859" y="3310520"/>
                <a:ext cx="341111" cy="334030"/>
              </a:xfrm>
              <a:custGeom>
                <a:avLst/>
                <a:gdLst>
                  <a:gd name="connsiteX0" fmla="*/ 220430 w 341111"/>
                  <a:gd name="connsiteY0" fmla="*/ 334030 h 334030"/>
                  <a:gd name="connsiteX1" fmla="*/ 14309 w 341111"/>
                  <a:gd name="connsiteY1" fmla="*/ 62377 h 334030"/>
                  <a:gd name="connsiteX2" fmla="*/ 341112 w 341111"/>
                  <a:gd name="connsiteY2" fmla="*/ 92381 h 334030"/>
                  <a:gd name="connsiteX3" fmla="*/ 230431 w 341111"/>
                  <a:gd name="connsiteY3" fmla="*/ 181154 h 334030"/>
                  <a:gd name="connsiteX4" fmla="*/ 220430 w 341111"/>
                  <a:gd name="connsiteY4" fmla="*/ 334030 h 334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111" h="334030">
                    <a:moveTo>
                      <a:pt x="220430" y="334030"/>
                    </a:moveTo>
                    <a:cubicBezTo>
                      <a:pt x="220430" y="334030"/>
                      <a:pt x="-66368" y="214587"/>
                      <a:pt x="14309" y="62377"/>
                    </a:cubicBezTo>
                    <a:cubicBezTo>
                      <a:pt x="97081" y="-93738"/>
                      <a:pt x="341112" y="92381"/>
                      <a:pt x="341112" y="92381"/>
                    </a:cubicBezTo>
                    <a:cubicBezTo>
                      <a:pt x="329205" y="95810"/>
                      <a:pt x="266055" y="115431"/>
                      <a:pt x="230431" y="181154"/>
                    </a:cubicBezTo>
                    <a:cubicBezTo>
                      <a:pt x="191283" y="253353"/>
                      <a:pt x="216524" y="323648"/>
                      <a:pt x="220430" y="334030"/>
                    </a:cubicBezTo>
                    <a:close/>
                  </a:path>
                </a:pathLst>
              </a:custGeom>
              <a:solidFill>
                <a:srgbClr val="CD5B1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r" defTabSz="711200" rtl="1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endParaRPr>
              </a:p>
            </p:txBody>
          </p:sp>
        </p:grpSp>
        <p:grpSp>
          <p:nvGrpSpPr>
            <p:cNvPr id="59" name="Graphic 1665">
              <a:extLst>
                <a:ext uri="{FF2B5EF4-FFF2-40B4-BE49-F238E27FC236}">
                  <a16:creationId xmlns:a16="http://schemas.microsoft.com/office/drawing/2014/main" id="{68975C08-3A1E-1412-D152-9CAE37163160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 rot="21109248" flipH="1">
              <a:off x="10772546" y="884186"/>
              <a:ext cx="430431" cy="136567"/>
              <a:chOff x="6047704" y="3499323"/>
              <a:chExt cx="715524" cy="227021"/>
            </a:xfrm>
            <a:solidFill>
              <a:srgbClr val="FFC19F"/>
            </a:solidFill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2889FF4E-6D7E-1DFC-2139-361D37DCB131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6047704" y="3499323"/>
                <a:ext cx="715524" cy="227021"/>
              </a:xfrm>
              <a:custGeom>
                <a:avLst/>
                <a:gdLst>
                  <a:gd name="connsiteX0" fmla="*/ 663705 w 715524"/>
                  <a:gd name="connsiteY0" fmla="*/ 183517 h 227021"/>
                  <a:gd name="connsiteX1" fmla="*/ 265179 w 715524"/>
                  <a:gd name="connsiteY1" fmla="*/ 171516 h 227021"/>
                  <a:gd name="connsiteX2" fmla="*/ 163357 w 715524"/>
                  <a:gd name="connsiteY2" fmla="*/ 201806 h 227021"/>
                  <a:gd name="connsiteX3" fmla="*/ 47057 w 715524"/>
                  <a:gd name="connsiteY3" fmla="*/ 203996 h 227021"/>
                  <a:gd name="connsiteX4" fmla="*/ 11719 w 715524"/>
                  <a:gd name="connsiteY4" fmla="*/ 160658 h 227021"/>
                  <a:gd name="connsiteX5" fmla="*/ 15720 w 715524"/>
                  <a:gd name="connsiteY5" fmla="*/ 107984 h 227021"/>
                  <a:gd name="connsiteX6" fmla="*/ 53915 w 715524"/>
                  <a:gd name="connsiteY6" fmla="*/ 33403 h 227021"/>
                  <a:gd name="connsiteX7" fmla="*/ 141640 w 715524"/>
                  <a:gd name="connsiteY7" fmla="*/ 22736 h 227021"/>
                  <a:gd name="connsiteX8" fmla="*/ 229365 w 715524"/>
                  <a:gd name="connsiteY8" fmla="*/ 32356 h 227021"/>
                  <a:gd name="connsiteX9" fmla="*/ 469205 w 715524"/>
                  <a:gd name="connsiteY9" fmla="*/ 1495 h 227021"/>
                  <a:gd name="connsiteX10" fmla="*/ 714759 w 715524"/>
                  <a:gd name="connsiteY10" fmla="*/ 78171 h 227021"/>
                  <a:gd name="connsiteX11" fmla="*/ 663610 w 715524"/>
                  <a:gd name="connsiteY11" fmla="*/ 183422 h 2270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15524" h="227021">
                    <a:moveTo>
                      <a:pt x="663705" y="183517"/>
                    </a:moveTo>
                    <a:cubicBezTo>
                      <a:pt x="560550" y="263146"/>
                      <a:pt x="265179" y="171516"/>
                      <a:pt x="265179" y="171516"/>
                    </a:cubicBezTo>
                    <a:cubicBezTo>
                      <a:pt x="265179" y="171516"/>
                      <a:pt x="230508" y="211997"/>
                      <a:pt x="163357" y="201806"/>
                    </a:cubicBezTo>
                    <a:cubicBezTo>
                      <a:pt x="163357" y="201806"/>
                      <a:pt x="43152" y="257050"/>
                      <a:pt x="47057" y="203996"/>
                    </a:cubicBezTo>
                    <a:cubicBezTo>
                      <a:pt x="47057" y="203996"/>
                      <a:pt x="-10284" y="205806"/>
                      <a:pt x="11719" y="160658"/>
                    </a:cubicBezTo>
                    <a:cubicBezTo>
                      <a:pt x="11719" y="160658"/>
                      <a:pt x="-17142" y="139036"/>
                      <a:pt x="15720" y="107984"/>
                    </a:cubicBezTo>
                    <a:cubicBezTo>
                      <a:pt x="15720" y="107984"/>
                      <a:pt x="-15427" y="82171"/>
                      <a:pt x="53915" y="33403"/>
                    </a:cubicBezTo>
                    <a:cubicBezTo>
                      <a:pt x="81061" y="14353"/>
                      <a:pt x="111922" y="19116"/>
                      <a:pt x="141640" y="22736"/>
                    </a:cubicBezTo>
                    <a:cubicBezTo>
                      <a:pt x="194694" y="29212"/>
                      <a:pt x="229365" y="32356"/>
                      <a:pt x="229365" y="32356"/>
                    </a:cubicBezTo>
                    <a:cubicBezTo>
                      <a:pt x="229365" y="32356"/>
                      <a:pt x="377193" y="5209"/>
                      <a:pt x="469205" y="1495"/>
                    </a:cubicBezTo>
                    <a:cubicBezTo>
                      <a:pt x="469205" y="1495"/>
                      <a:pt x="663039" y="-17270"/>
                      <a:pt x="714759" y="78171"/>
                    </a:cubicBezTo>
                    <a:cubicBezTo>
                      <a:pt x="718950" y="113795"/>
                      <a:pt x="706473" y="150466"/>
                      <a:pt x="663610" y="1834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r" defTabSz="711200" rtl="1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endParaRPr>
              </a:p>
            </p:txBody>
          </p:sp>
          <p:grpSp>
            <p:nvGrpSpPr>
              <p:cNvPr id="66" name="Graphic 1665">
                <a:extLst>
                  <a:ext uri="{FF2B5EF4-FFF2-40B4-BE49-F238E27FC236}">
                    <a16:creationId xmlns:a16="http://schemas.microsoft.com/office/drawing/2014/main" id="{7488EF4B-9E5C-DAE6-3254-6B55A25D56FE}"/>
                  </a:ext>
                </a:extLst>
              </p:cNvPr>
              <p:cNvGrpSpPr/>
              <p:nvPr>
                <p:custDataLst>
                  <p:tags r:id="rId17"/>
                </p:custDataLst>
              </p:nvPr>
            </p:nvGrpSpPr>
            <p:grpSpPr>
              <a:xfrm>
                <a:off x="6059423" y="3569585"/>
                <a:ext cx="109823" cy="133829"/>
                <a:chOff x="6059423" y="3569585"/>
                <a:chExt cx="109823" cy="133829"/>
              </a:xfrm>
              <a:grpFill/>
            </p:grpSpPr>
            <p:sp>
              <p:nvSpPr>
                <p:cNvPr id="67" name="Freeform: Shape 66">
                  <a:extLst>
                    <a:ext uri="{FF2B5EF4-FFF2-40B4-BE49-F238E27FC236}">
                      <a16:creationId xmlns:a16="http://schemas.microsoft.com/office/drawing/2014/main" id="{C883CD75-216F-E2EC-AE01-98A6C7DD6F07}"/>
                    </a:ext>
                  </a:extLst>
                </p:cNvPr>
                <p:cNvSpPr/>
                <p:nvPr>
                  <p:custDataLst>
                    <p:tags r:id="rId18"/>
                  </p:custDataLst>
                </p:nvPr>
              </p:nvSpPr>
              <p:spPr>
                <a:xfrm>
                  <a:off x="6094755" y="3664158"/>
                  <a:ext cx="68585" cy="39256"/>
                </a:xfrm>
                <a:custGeom>
                  <a:avLst/>
                  <a:gdLst>
                    <a:gd name="connsiteX0" fmla="*/ 6 w 68585"/>
                    <a:gd name="connsiteY0" fmla="*/ 39256 h 39256"/>
                    <a:gd name="connsiteX1" fmla="*/ 9531 w 68585"/>
                    <a:gd name="connsiteY1" fmla="*/ 20016 h 39256"/>
                    <a:gd name="connsiteX2" fmla="*/ 27342 w 68585"/>
                    <a:gd name="connsiteY2" fmla="*/ 7824 h 39256"/>
                    <a:gd name="connsiteX3" fmla="*/ 37248 w 68585"/>
                    <a:gd name="connsiteY3" fmla="*/ 3919 h 39256"/>
                    <a:gd name="connsiteX4" fmla="*/ 47535 w 68585"/>
                    <a:gd name="connsiteY4" fmla="*/ 1442 h 39256"/>
                    <a:gd name="connsiteX5" fmla="*/ 68586 w 68585"/>
                    <a:gd name="connsiteY5" fmla="*/ 299 h 39256"/>
                    <a:gd name="connsiteX6" fmla="*/ 49917 w 68585"/>
                    <a:gd name="connsiteY6" fmla="*/ 9157 h 39256"/>
                    <a:gd name="connsiteX7" fmla="*/ 31724 w 68585"/>
                    <a:gd name="connsiteY7" fmla="*/ 17159 h 39256"/>
                    <a:gd name="connsiteX8" fmla="*/ 14674 w 68585"/>
                    <a:gd name="connsiteY8" fmla="*/ 26207 h 39256"/>
                    <a:gd name="connsiteX9" fmla="*/ 6 w 68585"/>
                    <a:gd name="connsiteY9" fmla="*/ 39256 h 392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8585" h="39256">
                      <a:moveTo>
                        <a:pt x="6" y="39256"/>
                      </a:moveTo>
                      <a:cubicBezTo>
                        <a:pt x="-185" y="31827"/>
                        <a:pt x="4482" y="25064"/>
                        <a:pt x="9531" y="20016"/>
                      </a:cubicBezTo>
                      <a:cubicBezTo>
                        <a:pt x="14674" y="14777"/>
                        <a:pt x="20961" y="10872"/>
                        <a:pt x="27342" y="7824"/>
                      </a:cubicBezTo>
                      <a:cubicBezTo>
                        <a:pt x="30581" y="6395"/>
                        <a:pt x="33915" y="5157"/>
                        <a:pt x="37248" y="3919"/>
                      </a:cubicBezTo>
                      <a:cubicBezTo>
                        <a:pt x="40677" y="3061"/>
                        <a:pt x="44011" y="1918"/>
                        <a:pt x="47535" y="1442"/>
                      </a:cubicBezTo>
                      <a:cubicBezTo>
                        <a:pt x="54393" y="109"/>
                        <a:pt x="61442" y="-368"/>
                        <a:pt x="68586" y="299"/>
                      </a:cubicBezTo>
                      <a:cubicBezTo>
                        <a:pt x="62299" y="3823"/>
                        <a:pt x="56013" y="6490"/>
                        <a:pt x="49917" y="9157"/>
                      </a:cubicBezTo>
                      <a:cubicBezTo>
                        <a:pt x="43725" y="11920"/>
                        <a:pt x="37629" y="14396"/>
                        <a:pt x="31724" y="17159"/>
                      </a:cubicBezTo>
                      <a:cubicBezTo>
                        <a:pt x="25723" y="19826"/>
                        <a:pt x="20103" y="22873"/>
                        <a:pt x="14674" y="26207"/>
                      </a:cubicBezTo>
                      <a:cubicBezTo>
                        <a:pt x="9340" y="29731"/>
                        <a:pt x="4006" y="33351"/>
                        <a:pt x="6" y="39256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  <p:sp>
              <p:nvSpPr>
                <p:cNvPr id="68" name="Freeform: Shape 67">
                  <a:extLst>
                    <a:ext uri="{FF2B5EF4-FFF2-40B4-BE49-F238E27FC236}">
                      <a16:creationId xmlns:a16="http://schemas.microsoft.com/office/drawing/2014/main" id="{FCCEB566-64A5-E9F8-CC57-B72F9D5D31D1}"/>
                    </a:ext>
                  </a:extLst>
                </p:cNvPr>
                <p:cNvSpPr/>
                <p:nvPr>
                  <p:custDataLst>
                    <p:tags r:id="rId19"/>
                  </p:custDataLst>
                </p:nvPr>
              </p:nvSpPr>
              <p:spPr>
                <a:xfrm>
                  <a:off x="6059423" y="3604640"/>
                  <a:ext cx="109823" cy="55530"/>
                </a:xfrm>
                <a:custGeom>
                  <a:avLst/>
                  <a:gdLst>
                    <a:gd name="connsiteX0" fmla="*/ 0 w 109823"/>
                    <a:gd name="connsiteY0" fmla="*/ 55435 h 55530"/>
                    <a:gd name="connsiteX1" fmla="*/ 18574 w 109823"/>
                    <a:gd name="connsiteY1" fmla="*/ 28670 h 55530"/>
                    <a:gd name="connsiteX2" fmla="*/ 45815 w 109823"/>
                    <a:gd name="connsiteY2" fmla="*/ 10192 h 55530"/>
                    <a:gd name="connsiteX3" fmla="*/ 77343 w 109823"/>
                    <a:gd name="connsiteY3" fmla="*/ 1048 h 55530"/>
                    <a:gd name="connsiteX4" fmla="*/ 93631 w 109823"/>
                    <a:gd name="connsiteY4" fmla="*/ 0 h 55530"/>
                    <a:gd name="connsiteX5" fmla="*/ 109823 w 109823"/>
                    <a:gd name="connsiteY5" fmla="*/ 1714 h 55530"/>
                    <a:gd name="connsiteX6" fmla="*/ 94393 w 109823"/>
                    <a:gd name="connsiteY6" fmla="*/ 6001 h 55530"/>
                    <a:gd name="connsiteX7" fmla="*/ 79438 w 109823"/>
                    <a:gd name="connsiteY7" fmla="*/ 10477 h 55530"/>
                    <a:gd name="connsiteX8" fmla="*/ 51054 w 109823"/>
                    <a:gd name="connsiteY8" fmla="*/ 21431 h 55530"/>
                    <a:gd name="connsiteX9" fmla="*/ 95 w 109823"/>
                    <a:gd name="connsiteY9" fmla="*/ 55531 h 55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9823" h="55530">
                      <a:moveTo>
                        <a:pt x="0" y="55435"/>
                      </a:moveTo>
                      <a:cubicBezTo>
                        <a:pt x="3715" y="45148"/>
                        <a:pt x="10668" y="36290"/>
                        <a:pt x="18574" y="28670"/>
                      </a:cubicBezTo>
                      <a:cubicBezTo>
                        <a:pt x="26575" y="21146"/>
                        <a:pt x="35814" y="14859"/>
                        <a:pt x="45815" y="10192"/>
                      </a:cubicBezTo>
                      <a:cubicBezTo>
                        <a:pt x="55912" y="5715"/>
                        <a:pt x="66484" y="2381"/>
                        <a:pt x="77343" y="1048"/>
                      </a:cubicBezTo>
                      <a:cubicBezTo>
                        <a:pt x="82677" y="0"/>
                        <a:pt x="88201" y="286"/>
                        <a:pt x="93631" y="0"/>
                      </a:cubicBezTo>
                      <a:cubicBezTo>
                        <a:pt x="99060" y="191"/>
                        <a:pt x="104489" y="762"/>
                        <a:pt x="109823" y="1714"/>
                      </a:cubicBezTo>
                      <a:cubicBezTo>
                        <a:pt x="104584" y="3524"/>
                        <a:pt x="99441" y="4572"/>
                        <a:pt x="94393" y="6001"/>
                      </a:cubicBezTo>
                      <a:cubicBezTo>
                        <a:pt x="89344" y="7620"/>
                        <a:pt x="84296" y="8668"/>
                        <a:pt x="79438" y="10477"/>
                      </a:cubicBezTo>
                      <a:cubicBezTo>
                        <a:pt x="69533" y="13430"/>
                        <a:pt x="60293" y="17431"/>
                        <a:pt x="51054" y="21431"/>
                      </a:cubicBezTo>
                      <a:cubicBezTo>
                        <a:pt x="32766" y="30099"/>
                        <a:pt x="15812" y="40958"/>
                        <a:pt x="95" y="55531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  <p:sp>
              <p:nvSpPr>
                <p:cNvPr id="69" name="Freeform: Shape 68">
                  <a:extLst>
                    <a:ext uri="{FF2B5EF4-FFF2-40B4-BE49-F238E27FC236}">
                      <a16:creationId xmlns:a16="http://schemas.microsoft.com/office/drawing/2014/main" id="{81F73682-058F-2329-F0AD-E3B52321B612}"/>
                    </a:ext>
                  </a:extLst>
                </p:cNvPr>
                <p:cNvSpPr/>
                <p:nvPr>
                  <p:custDataLst>
                    <p:tags r:id="rId20"/>
                  </p:custDataLst>
                </p:nvPr>
              </p:nvSpPr>
              <p:spPr>
                <a:xfrm>
                  <a:off x="6063424" y="3569585"/>
                  <a:ext cx="75818" cy="37817"/>
                </a:xfrm>
                <a:custGeom>
                  <a:avLst/>
                  <a:gdLst>
                    <a:gd name="connsiteX0" fmla="*/ 0 w 75818"/>
                    <a:gd name="connsiteY0" fmla="*/ 37818 h 37817"/>
                    <a:gd name="connsiteX1" fmla="*/ 14288 w 75818"/>
                    <a:gd name="connsiteY1" fmla="*/ 20959 h 37817"/>
                    <a:gd name="connsiteX2" fmla="*/ 32575 w 75818"/>
                    <a:gd name="connsiteY2" fmla="*/ 8385 h 37817"/>
                    <a:gd name="connsiteX3" fmla="*/ 75819 w 75818"/>
                    <a:gd name="connsiteY3" fmla="*/ 1242 h 37817"/>
                    <a:gd name="connsiteX4" fmla="*/ 55626 w 75818"/>
                    <a:gd name="connsiteY4" fmla="*/ 8100 h 37817"/>
                    <a:gd name="connsiteX5" fmla="*/ 36862 w 75818"/>
                    <a:gd name="connsiteY5" fmla="*/ 16767 h 37817"/>
                    <a:gd name="connsiteX6" fmla="*/ 0 w 75818"/>
                    <a:gd name="connsiteY6" fmla="*/ 37722 h 37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5818" h="37817">
                      <a:moveTo>
                        <a:pt x="0" y="37818"/>
                      </a:moveTo>
                      <a:cubicBezTo>
                        <a:pt x="3715" y="31341"/>
                        <a:pt x="8763" y="25816"/>
                        <a:pt x="14288" y="20959"/>
                      </a:cubicBezTo>
                      <a:cubicBezTo>
                        <a:pt x="19812" y="16005"/>
                        <a:pt x="26003" y="11910"/>
                        <a:pt x="32575" y="8385"/>
                      </a:cubicBezTo>
                      <a:cubicBezTo>
                        <a:pt x="45720" y="1623"/>
                        <a:pt x="61246" y="-2092"/>
                        <a:pt x="75819" y="1242"/>
                      </a:cubicBezTo>
                      <a:cubicBezTo>
                        <a:pt x="68675" y="3528"/>
                        <a:pt x="62103" y="5528"/>
                        <a:pt x="55626" y="8100"/>
                      </a:cubicBezTo>
                      <a:cubicBezTo>
                        <a:pt x="49244" y="10767"/>
                        <a:pt x="42958" y="13434"/>
                        <a:pt x="36862" y="16767"/>
                      </a:cubicBezTo>
                      <a:cubicBezTo>
                        <a:pt x="24575" y="23054"/>
                        <a:pt x="12763" y="30388"/>
                        <a:pt x="0" y="37722"/>
                      </a:cubicBez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</p:grpSp>
        </p:grpSp>
        <p:grpSp>
          <p:nvGrpSpPr>
            <p:cNvPr id="60" name="Graphic 1665">
              <a:extLst>
                <a:ext uri="{FF2B5EF4-FFF2-40B4-BE49-F238E27FC236}">
                  <a16:creationId xmlns:a16="http://schemas.microsoft.com/office/drawing/2014/main" id="{AC142CC7-5AB2-E7EB-612E-CA3B55307503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 rot="21109248" flipH="1">
              <a:off x="11283377" y="670234"/>
              <a:ext cx="202736" cy="361954"/>
              <a:chOff x="5559803" y="3239261"/>
              <a:chExt cx="337016" cy="601690"/>
            </a:xfrm>
          </p:grpSpPr>
          <p:grpSp>
            <p:nvGrpSpPr>
              <p:cNvPr id="61" name="Graphic 1665">
                <a:extLst>
                  <a:ext uri="{FF2B5EF4-FFF2-40B4-BE49-F238E27FC236}">
                    <a16:creationId xmlns:a16="http://schemas.microsoft.com/office/drawing/2014/main" id="{5FBB7A0B-21A1-902D-6740-DB2DEE857319}"/>
                  </a:ext>
                </a:extLst>
              </p:cNvPr>
              <p:cNvGrpSpPr/>
              <p:nvPr>
                <p:custDataLst>
                  <p:tags r:id="rId12"/>
                </p:custDataLst>
              </p:nvPr>
            </p:nvGrpSpPr>
            <p:grpSpPr>
              <a:xfrm>
                <a:off x="5559803" y="3248006"/>
                <a:ext cx="337016" cy="592945"/>
                <a:chOff x="5559803" y="3248006"/>
                <a:chExt cx="337016" cy="592945"/>
              </a:xfrm>
            </p:grpSpPr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D10BF440-1CA9-2A2A-D0E2-E1C1EE72E71C}"/>
                    </a:ext>
                  </a:extLst>
                </p:cNvPr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5559803" y="3248006"/>
                  <a:ext cx="337016" cy="592945"/>
                </a:xfrm>
                <a:custGeom>
                  <a:avLst/>
                  <a:gdLst>
                    <a:gd name="connsiteX0" fmla="*/ 332837 w 337016"/>
                    <a:gd name="connsiteY0" fmla="*/ 260432 h 592945"/>
                    <a:gd name="connsiteX1" fmla="*/ 29561 w 337016"/>
                    <a:gd name="connsiteY1" fmla="*/ 580948 h 592945"/>
                    <a:gd name="connsiteX2" fmla="*/ 20322 w 337016"/>
                    <a:gd name="connsiteY2" fmla="*/ 575900 h 592945"/>
                    <a:gd name="connsiteX3" fmla="*/ 20131 w 337016"/>
                    <a:gd name="connsiteY3" fmla="*/ 575900 h 592945"/>
                    <a:gd name="connsiteX4" fmla="*/ 93855 w 337016"/>
                    <a:gd name="connsiteY4" fmla="*/ 342061 h 592945"/>
                    <a:gd name="connsiteX5" fmla="*/ 191296 w 337016"/>
                    <a:gd name="connsiteY5" fmla="*/ 219284 h 592945"/>
                    <a:gd name="connsiteX6" fmla="*/ 179675 w 337016"/>
                    <a:gd name="connsiteY6" fmla="*/ 201948 h 592945"/>
                    <a:gd name="connsiteX7" fmla="*/ 109000 w 337016"/>
                    <a:gd name="connsiteY7" fmla="*/ 171659 h 592945"/>
                    <a:gd name="connsiteX8" fmla="*/ 111190 w 337016"/>
                    <a:gd name="connsiteY8" fmla="*/ 89363 h 592945"/>
                    <a:gd name="connsiteX9" fmla="*/ 128526 w 337016"/>
                    <a:gd name="connsiteY9" fmla="*/ 21545 h 592945"/>
                    <a:gd name="connsiteX10" fmla="*/ 201773 w 337016"/>
                    <a:gd name="connsiteY10" fmla="*/ 60121 h 592945"/>
                    <a:gd name="connsiteX11" fmla="*/ 206536 w 337016"/>
                    <a:gd name="connsiteY11" fmla="*/ 590 h 592945"/>
                    <a:gd name="connsiteX12" fmla="*/ 279402 w 337016"/>
                    <a:gd name="connsiteY12" fmla="*/ 93744 h 592945"/>
                    <a:gd name="connsiteX13" fmla="*/ 332837 w 337016"/>
                    <a:gd name="connsiteY13" fmla="*/ 260527 h 592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37016" h="592945">
                      <a:moveTo>
                        <a:pt x="332837" y="260432"/>
                      </a:moveTo>
                      <a:cubicBezTo>
                        <a:pt x="289498" y="418547"/>
                        <a:pt x="166054" y="648099"/>
                        <a:pt x="29561" y="580948"/>
                      </a:cubicBezTo>
                      <a:cubicBezTo>
                        <a:pt x="26323" y="579424"/>
                        <a:pt x="23275" y="577709"/>
                        <a:pt x="20322" y="575900"/>
                      </a:cubicBezTo>
                      <a:cubicBezTo>
                        <a:pt x="20322" y="575900"/>
                        <a:pt x="20322" y="575900"/>
                        <a:pt x="20131" y="575900"/>
                      </a:cubicBezTo>
                      <a:cubicBezTo>
                        <a:pt x="-52259" y="488555"/>
                        <a:pt x="93855" y="342061"/>
                        <a:pt x="93855" y="342061"/>
                      </a:cubicBezTo>
                      <a:lnTo>
                        <a:pt x="191296" y="219284"/>
                      </a:lnTo>
                      <a:lnTo>
                        <a:pt x="179675" y="201948"/>
                      </a:lnTo>
                      <a:cubicBezTo>
                        <a:pt x="179675" y="201948"/>
                        <a:pt x="140718" y="194709"/>
                        <a:pt x="109000" y="171659"/>
                      </a:cubicBezTo>
                      <a:cubicBezTo>
                        <a:pt x="77186" y="148513"/>
                        <a:pt x="111190" y="89363"/>
                        <a:pt x="111190" y="89363"/>
                      </a:cubicBezTo>
                      <a:cubicBezTo>
                        <a:pt x="96046" y="34499"/>
                        <a:pt x="128526" y="21545"/>
                        <a:pt x="128526" y="21545"/>
                      </a:cubicBezTo>
                      <a:cubicBezTo>
                        <a:pt x="155196" y="-30557"/>
                        <a:pt x="193010" y="41833"/>
                        <a:pt x="201773" y="60121"/>
                      </a:cubicBezTo>
                      <a:cubicBezTo>
                        <a:pt x="196249" y="47167"/>
                        <a:pt x="181199" y="6686"/>
                        <a:pt x="206536" y="590"/>
                      </a:cubicBezTo>
                      <a:cubicBezTo>
                        <a:pt x="245493" y="-8650"/>
                        <a:pt x="279402" y="93744"/>
                        <a:pt x="279402" y="93744"/>
                      </a:cubicBezTo>
                      <a:cubicBezTo>
                        <a:pt x="359221" y="133749"/>
                        <a:pt x="332837" y="260527"/>
                        <a:pt x="332837" y="260527"/>
                      </a:cubicBezTo>
                      <a:close/>
                    </a:path>
                  </a:pathLst>
                </a:custGeom>
                <a:solidFill>
                  <a:srgbClr val="FFC19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9A332E3D-92CC-7004-9940-540872EE4F23}"/>
                    </a:ext>
                  </a:extLst>
                </p:cNvPr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5634799" y="3337368"/>
                  <a:ext cx="104679" cy="140874"/>
                </a:xfrm>
                <a:custGeom>
                  <a:avLst/>
                  <a:gdLst>
                    <a:gd name="connsiteX0" fmla="*/ 36195 w 104679"/>
                    <a:gd name="connsiteY0" fmla="*/ 0 h 140874"/>
                    <a:gd name="connsiteX1" fmla="*/ 60674 w 104679"/>
                    <a:gd name="connsiteY1" fmla="*/ 64294 h 140874"/>
                    <a:gd name="connsiteX2" fmla="*/ 104680 w 104679"/>
                    <a:gd name="connsiteY2" fmla="*/ 112681 h 140874"/>
                    <a:gd name="connsiteX3" fmla="*/ 67151 w 104679"/>
                    <a:gd name="connsiteY3" fmla="*/ 140875 h 140874"/>
                    <a:gd name="connsiteX4" fmla="*/ 0 w 104679"/>
                    <a:gd name="connsiteY4" fmla="*/ 80201 h 140874"/>
                    <a:gd name="connsiteX5" fmla="*/ 21717 w 104679"/>
                    <a:gd name="connsiteY5" fmla="*/ 1524 h 140874"/>
                    <a:gd name="connsiteX6" fmla="*/ 36195 w 104679"/>
                    <a:gd name="connsiteY6" fmla="*/ 95 h 1408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679" h="140874">
                      <a:moveTo>
                        <a:pt x="36195" y="0"/>
                      </a:moveTo>
                      <a:cubicBezTo>
                        <a:pt x="36195" y="0"/>
                        <a:pt x="38291" y="45149"/>
                        <a:pt x="60674" y="64294"/>
                      </a:cubicBezTo>
                      <a:cubicBezTo>
                        <a:pt x="83249" y="83534"/>
                        <a:pt x="104680" y="112681"/>
                        <a:pt x="104680" y="112681"/>
                      </a:cubicBezTo>
                      <a:lnTo>
                        <a:pt x="67151" y="140875"/>
                      </a:lnTo>
                      <a:cubicBezTo>
                        <a:pt x="67151" y="140875"/>
                        <a:pt x="0" y="88202"/>
                        <a:pt x="0" y="80201"/>
                      </a:cubicBezTo>
                      <a:cubicBezTo>
                        <a:pt x="0" y="72200"/>
                        <a:pt x="21717" y="1524"/>
                        <a:pt x="21717" y="1524"/>
                      </a:cubicBezTo>
                      <a:lnTo>
                        <a:pt x="36195" y="95"/>
                      </a:lnTo>
                    </a:path>
                  </a:pathLst>
                </a:custGeom>
                <a:solidFill>
                  <a:srgbClr val="CF5F5E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177800" marR="0" lvl="0" indent="-177800" algn="r" defTabSz="711200" rtl="1" eaLnBrk="1" fontAlgn="auto" latinLnBrk="0" hangingPunct="1">
                    <a:lnSpc>
                      <a:spcPct val="100000"/>
                    </a:lnSpc>
                    <a:spcBef>
                      <a:spcPts val="1200"/>
                    </a:spcBef>
                    <a:spcAft>
                      <a:spcPts val="0"/>
                    </a:spcAft>
                    <a:buClrTx/>
                    <a:buSzTx/>
                    <a:buFontTx/>
                    <a:buChar char="•"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kkal Majalla" panose="02000000000000000000" pitchFamily="2" charset="-78"/>
                    <a:ea typeface="+mn-ea"/>
                    <a:cs typeface="Sakkal Majalla" panose="02000000000000000000" pitchFamily="2" charset="-78"/>
                  </a:endParaRPr>
                </a:p>
              </p:txBody>
            </p:sp>
          </p:grp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6E97D3B6-4CBA-871B-BD9B-26E89272E4AC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5664712" y="3239261"/>
                <a:ext cx="231261" cy="200882"/>
              </a:xfrm>
              <a:custGeom>
                <a:avLst/>
                <a:gdLst>
                  <a:gd name="connsiteX0" fmla="*/ 231167 w 231261"/>
                  <a:gd name="connsiteY0" fmla="*/ 200882 h 200882"/>
                  <a:gd name="connsiteX1" fmla="*/ 212117 w 231261"/>
                  <a:gd name="connsiteY1" fmla="*/ 145828 h 200882"/>
                  <a:gd name="connsiteX2" fmla="*/ 194495 w 231261"/>
                  <a:gd name="connsiteY2" fmla="*/ 123730 h 200882"/>
                  <a:gd name="connsiteX3" fmla="*/ 171540 w 231261"/>
                  <a:gd name="connsiteY3" fmla="*/ 108394 h 200882"/>
                  <a:gd name="connsiteX4" fmla="*/ 169254 w 231261"/>
                  <a:gd name="connsiteY4" fmla="*/ 107347 h 200882"/>
                  <a:gd name="connsiteX5" fmla="*/ 168206 w 231261"/>
                  <a:gd name="connsiteY5" fmla="*/ 104584 h 200882"/>
                  <a:gd name="connsiteX6" fmla="*/ 148585 w 231261"/>
                  <a:gd name="connsiteY6" fmla="*/ 61627 h 200882"/>
                  <a:gd name="connsiteX7" fmla="*/ 136488 w 231261"/>
                  <a:gd name="connsiteY7" fmla="*/ 41815 h 200882"/>
                  <a:gd name="connsiteX8" fmla="*/ 122296 w 231261"/>
                  <a:gd name="connsiteY8" fmla="*/ 25051 h 200882"/>
                  <a:gd name="connsiteX9" fmla="*/ 106484 w 231261"/>
                  <a:gd name="connsiteY9" fmla="*/ 17526 h 200882"/>
                  <a:gd name="connsiteX10" fmla="*/ 100103 w 231261"/>
                  <a:gd name="connsiteY10" fmla="*/ 19431 h 200882"/>
                  <a:gd name="connsiteX11" fmla="*/ 96769 w 231261"/>
                  <a:gd name="connsiteY11" fmla="*/ 24575 h 200882"/>
                  <a:gd name="connsiteX12" fmla="*/ 97436 w 231261"/>
                  <a:gd name="connsiteY12" fmla="*/ 44196 h 200882"/>
                  <a:gd name="connsiteX13" fmla="*/ 108580 w 231261"/>
                  <a:gd name="connsiteY13" fmla="*/ 79724 h 200882"/>
                  <a:gd name="connsiteX14" fmla="*/ 115533 w 231261"/>
                  <a:gd name="connsiteY14" fmla="*/ 102584 h 200882"/>
                  <a:gd name="connsiteX15" fmla="*/ 108866 w 231261"/>
                  <a:gd name="connsiteY15" fmla="*/ 94869 h 200882"/>
                  <a:gd name="connsiteX16" fmla="*/ 83910 w 231261"/>
                  <a:gd name="connsiteY16" fmla="*/ 62103 h 200882"/>
                  <a:gd name="connsiteX17" fmla="*/ 62003 w 231261"/>
                  <a:gd name="connsiteY17" fmla="*/ 28099 h 200882"/>
                  <a:gd name="connsiteX18" fmla="*/ 43905 w 231261"/>
                  <a:gd name="connsiteY18" fmla="*/ 18002 h 200882"/>
                  <a:gd name="connsiteX19" fmla="*/ 34571 w 231261"/>
                  <a:gd name="connsiteY19" fmla="*/ 23336 h 200882"/>
                  <a:gd name="connsiteX20" fmla="*/ 29618 w 231261"/>
                  <a:gd name="connsiteY20" fmla="*/ 40576 h 200882"/>
                  <a:gd name="connsiteX21" fmla="*/ 33713 w 231261"/>
                  <a:gd name="connsiteY21" fmla="*/ 63722 h 200882"/>
                  <a:gd name="connsiteX22" fmla="*/ 41714 w 231261"/>
                  <a:gd name="connsiteY22" fmla="*/ 88106 h 200882"/>
                  <a:gd name="connsiteX23" fmla="*/ 54002 w 231261"/>
                  <a:gd name="connsiteY23" fmla="*/ 110680 h 200882"/>
                  <a:gd name="connsiteX24" fmla="*/ 72004 w 231261"/>
                  <a:gd name="connsiteY24" fmla="*/ 129350 h 200882"/>
                  <a:gd name="connsiteX25" fmla="*/ 50573 w 231261"/>
                  <a:gd name="connsiteY25" fmla="*/ 113443 h 200882"/>
                  <a:gd name="connsiteX26" fmla="*/ 33999 w 231261"/>
                  <a:gd name="connsiteY26" fmla="*/ 92011 h 200882"/>
                  <a:gd name="connsiteX27" fmla="*/ 21331 w 231261"/>
                  <a:gd name="connsiteY27" fmla="*/ 67818 h 200882"/>
                  <a:gd name="connsiteX28" fmla="*/ 12949 w 231261"/>
                  <a:gd name="connsiteY28" fmla="*/ 45053 h 200882"/>
                  <a:gd name="connsiteX29" fmla="*/ 5996 w 231261"/>
                  <a:gd name="connsiteY29" fmla="*/ 60865 h 200882"/>
                  <a:gd name="connsiteX30" fmla="*/ 4186 w 231261"/>
                  <a:gd name="connsiteY30" fmla="*/ 79153 h 200882"/>
                  <a:gd name="connsiteX31" fmla="*/ 4853 w 231261"/>
                  <a:gd name="connsiteY31" fmla="*/ 88582 h 200882"/>
                  <a:gd name="connsiteX32" fmla="*/ 6281 w 231261"/>
                  <a:gd name="connsiteY32" fmla="*/ 97917 h 200882"/>
                  <a:gd name="connsiteX33" fmla="*/ 3329 w 231261"/>
                  <a:gd name="connsiteY33" fmla="*/ 88773 h 200882"/>
                  <a:gd name="connsiteX34" fmla="*/ 1138 w 231261"/>
                  <a:gd name="connsiteY34" fmla="*/ 79438 h 200882"/>
                  <a:gd name="connsiteX35" fmla="*/ 376 w 231261"/>
                  <a:gd name="connsiteY35" fmla="*/ 59817 h 200882"/>
                  <a:gd name="connsiteX36" fmla="*/ 6472 w 231261"/>
                  <a:gd name="connsiteY36" fmla="*/ 40481 h 200882"/>
                  <a:gd name="connsiteX37" fmla="*/ 10187 w 231261"/>
                  <a:gd name="connsiteY37" fmla="*/ 35147 h 200882"/>
                  <a:gd name="connsiteX38" fmla="*/ 12092 w 231261"/>
                  <a:gd name="connsiteY38" fmla="*/ 32861 h 200882"/>
                  <a:gd name="connsiteX39" fmla="*/ 19902 w 231261"/>
                  <a:gd name="connsiteY39" fmla="*/ 26670 h 200882"/>
                  <a:gd name="connsiteX40" fmla="*/ 27236 w 231261"/>
                  <a:gd name="connsiteY40" fmla="*/ 14954 h 200882"/>
                  <a:gd name="connsiteX41" fmla="*/ 41810 w 231261"/>
                  <a:gd name="connsiteY41" fmla="*/ 5905 h 200882"/>
                  <a:gd name="connsiteX42" fmla="*/ 59145 w 231261"/>
                  <a:gd name="connsiteY42" fmla="*/ 8763 h 200882"/>
                  <a:gd name="connsiteX43" fmla="*/ 71813 w 231261"/>
                  <a:gd name="connsiteY43" fmla="*/ 17907 h 200882"/>
                  <a:gd name="connsiteX44" fmla="*/ 79052 w 231261"/>
                  <a:gd name="connsiteY44" fmla="*/ 25813 h 200882"/>
                  <a:gd name="connsiteX45" fmla="*/ 80291 w 231261"/>
                  <a:gd name="connsiteY45" fmla="*/ 19431 h 200882"/>
                  <a:gd name="connsiteX46" fmla="*/ 90197 w 231261"/>
                  <a:gd name="connsiteY46" fmla="*/ 4953 h 200882"/>
                  <a:gd name="connsiteX47" fmla="*/ 106484 w 231261"/>
                  <a:gd name="connsiteY47" fmla="*/ 0 h 200882"/>
                  <a:gd name="connsiteX48" fmla="*/ 133631 w 231261"/>
                  <a:gd name="connsiteY48" fmla="*/ 12097 h 200882"/>
                  <a:gd name="connsiteX49" fmla="*/ 162587 w 231261"/>
                  <a:gd name="connsiteY49" fmla="*/ 54102 h 200882"/>
                  <a:gd name="connsiteX50" fmla="*/ 180017 w 231261"/>
                  <a:gd name="connsiteY50" fmla="*/ 97822 h 200882"/>
                  <a:gd name="connsiteX51" fmla="*/ 202401 w 231261"/>
                  <a:gd name="connsiteY51" fmla="*/ 115633 h 200882"/>
                  <a:gd name="connsiteX52" fmla="*/ 219356 w 231261"/>
                  <a:gd name="connsiteY52" fmla="*/ 141637 h 200882"/>
                  <a:gd name="connsiteX53" fmla="*/ 231262 w 231261"/>
                  <a:gd name="connsiteY53" fmla="*/ 200596 h 200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31261" h="200882">
                    <a:moveTo>
                      <a:pt x="231167" y="200882"/>
                    </a:moveTo>
                    <a:cubicBezTo>
                      <a:pt x="227547" y="181356"/>
                      <a:pt x="221927" y="162211"/>
                      <a:pt x="212117" y="145828"/>
                    </a:cubicBezTo>
                    <a:cubicBezTo>
                      <a:pt x="207164" y="137636"/>
                      <a:pt x="201353" y="130016"/>
                      <a:pt x="194495" y="123730"/>
                    </a:cubicBezTo>
                    <a:cubicBezTo>
                      <a:pt x="187637" y="117538"/>
                      <a:pt x="179922" y="112300"/>
                      <a:pt x="171540" y="108394"/>
                    </a:cubicBezTo>
                    <a:lnTo>
                      <a:pt x="169254" y="107347"/>
                    </a:lnTo>
                    <a:lnTo>
                      <a:pt x="168206" y="104584"/>
                    </a:lnTo>
                    <a:cubicBezTo>
                      <a:pt x="162587" y="90011"/>
                      <a:pt x="156014" y="75343"/>
                      <a:pt x="148585" y="61627"/>
                    </a:cubicBezTo>
                    <a:cubicBezTo>
                      <a:pt x="144870" y="54673"/>
                      <a:pt x="140870" y="48006"/>
                      <a:pt x="136488" y="41815"/>
                    </a:cubicBezTo>
                    <a:cubicBezTo>
                      <a:pt x="132202" y="35623"/>
                      <a:pt x="127439" y="29623"/>
                      <a:pt x="122296" y="25051"/>
                    </a:cubicBezTo>
                    <a:cubicBezTo>
                      <a:pt x="117152" y="20479"/>
                      <a:pt x="111247" y="17240"/>
                      <a:pt x="106484" y="17526"/>
                    </a:cubicBezTo>
                    <a:cubicBezTo>
                      <a:pt x="104103" y="17526"/>
                      <a:pt x="101436" y="18288"/>
                      <a:pt x="100103" y="19431"/>
                    </a:cubicBezTo>
                    <a:cubicBezTo>
                      <a:pt x="98674" y="20574"/>
                      <a:pt x="97340" y="21812"/>
                      <a:pt x="96769" y="24575"/>
                    </a:cubicBezTo>
                    <a:cubicBezTo>
                      <a:pt x="95245" y="29623"/>
                      <a:pt x="96007" y="37243"/>
                      <a:pt x="97436" y="44196"/>
                    </a:cubicBezTo>
                    <a:cubicBezTo>
                      <a:pt x="99912" y="56293"/>
                      <a:pt x="105056" y="67818"/>
                      <a:pt x="108580" y="79724"/>
                    </a:cubicBezTo>
                    <a:cubicBezTo>
                      <a:pt x="110866" y="87344"/>
                      <a:pt x="113247" y="94964"/>
                      <a:pt x="115533" y="102584"/>
                    </a:cubicBezTo>
                    <a:cubicBezTo>
                      <a:pt x="114866" y="100203"/>
                      <a:pt x="110580" y="96869"/>
                      <a:pt x="108866" y="94869"/>
                    </a:cubicBezTo>
                    <a:cubicBezTo>
                      <a:pt x="99912" y="84677"/>
                      <a:pt x="91149" y="73819"/>
                      <a:pt x="83910" y="62103"/>
                    </a:cubicBezTo>
                    <a:cubicBezTo>
                      <a:pt x="76766" y="50578"/>
                      <a:pt x="71242" y="38100"/>
                      <a:pt x="62003" y="28099"/>
                    </a:cubicBezTo>
                    <a:cubicBezTo>
                      <a:pt x="56383" y="22003"/>
                      <a:pt x="49525" y="17240"/>
                      <a:pt x="43905" y="18002"/>
                    </a:cubicBezTo>
                    <a:cubicBezTo>
                      <a:pt x="40190" y="18478"/>
                      <a:pt x="37047" y="20669"/>
                      <a:pt x="34571" y="23336"/>
                    </a:cubicBezTo>
                    <a:cubicBezTo>
                      <a:pt x="30284" y="27813"/>
                      <a:pt x="29332" y="34480"/>
                      <a:pt x="29618" y="40576"/>
                    </a:cubicBezTo>
                    <a:cubicBezTo>
                      <a:pt x="29999" y="48292"/>
                      <a:pt x="31808" y="56293"/>
                      <a:pt x="33713" y="63722"/>
                    </a:cubicBezTo>
                    <a:cubicBezTo>
                      <a:pt x="35809" y="72009"/>
                      <a:pt x="38381" y="80200"/>
                      <a:pt x="41714" y="88106"/>
                    </a:cubicBezTo>
                    <a:cubicBezTo>
                      <a:pt x="45048" y="95917"/>
                      <a:pt x="49144" y="103537"/>
                      <a:pt x="54002" y="110680"/>
                    </a:cubicBezTo>
                    <a:cubicBezTo>
                      <a:pt x="59050" y="117729"/>
                      <a:pt x="65051" y="124111"/>
                      <a:pt x="72004" y="129350"/>
                    </a:cubicBezTo>
                    <a:cubicBezTo>
                      <a:pt x="64193" y="125254"/>
                      <a:pt x="57050" y="119825"/>
                      <a:pt x="50573" y="113443"/>
                    </a:cubicBezTo>
                    <a:cubicBezTo>
                      <a:pt x="44381" y="106966"/>
                      <a:pt x="38857" y="99631"/>
                      <a:pt x="33999" y="92011"/>
                    </a:cubicBezTo>
                    <a:cubicBezTo>
                      <a:pt x="29141" y="84296"/>
                      <a:pt x="24950" y="76200"/>
                      <a:pt x="21331" y="67818"/>
                    </a:cubicBezTo>
                    <a:cubicBezTo>
                      <a:pt x="18092" y="60388"/>
                      <a:pt x="15235" y="52959"/>
                      <a:pt x="12949" y="45053"/>
                    </a:cubicBezTo>
                    <a:cubicBezTo>
                      <a:pt x="9615" y="49625"/>
                      <a:pt x="7329" y="55150"/>
                      <a:pt x="5996" y="60865"/>
                    </a:cubicBezTo>
                    <a:cubicBezTo>
                      <a:pt x="4472" y="66770"/>
                      <a:pt x="4281" y="72866"/>
                      <a:pt x="4186" y="79153"/>
                    </a:cubicBezTo>
                    <a:lnTo>
                      <a:pt x="4853" y="88582"/>
                    </a:lnTo>
                    <a:lnTo>
                      <a:pt x="6281" y="97917"/>
                    </a:lnTo>
                    <a:lnTo>
                      <a:pt x="3329" y="88773"/>
                    </a:lnTo>
                    <a:cubicBezTo>
                      <a:pt x="2567" y="85630"/>
                      <a:pt x="1900" y="82582"/>
                      <a:pt x="1138" y="79438"/>
                    </a:cubicBezTo>
                    <a:cubicBezTo>
                      <a:pt x="281" y="73057"/>
                      <a:pt x="-481" y="66484"/>
                      <a:pt x="376" y="59817"/>
                    </a:cubicBezTo>
                    <a:cubicBezTo>
                      <a:pt x="1138" y="53245"/>
                      <a:pt x="2948" y="46577"/>
                      <a:pt x="6472" y="40481"/>
                    </a:cubicBezTo>
                    <a:cubicBezTo>
                      <a:pt x="7615" y="38576"/>
                      <a:pt x="8853" y="36767"/>
                      <a:pt x="10187" y="35147"/>
                    </a:cubicBezTo>
                    <a:lnTo>
                      <a:pt x="12092" y="32861"/>
                    </a:lnTo>
                    <a:cubicBezTo>
                      <a:pt x="14282" y="30480"/>
                      <a:pt x="16854" y="28480"/>
                      <a:pt x="19902" y="26670"/>
                    </a:cubicBezTo>
                    <a:cubicBezTo>
                      <a:pt x="21902" y="22669"/>
                      <a:pt x="24093" y="18669"/>
                      <a:pt x="27236" y="14954"/>
                    </a:cubicBezTo>
                    <a:cubicBezTo>
                      <a:pt x="30665" y="10954"/>
                      <a:pt x="35428" y="6953"/>
                      <a:pt x="41810" y="5905"/>
                    </a:cubicBezTo>
                    <a:cubicBezTo>
                      <a:pt x="48001" y="4572"/>
                      <a:pt x="54287" y="6382"/>
                      <a:pt x="59145" y="8763"/>
                    </a:cubicBezTo>
                    <a:cubicBezTo>
                      <a:pt x="64098" y="11240"/>
                      <a:pt x="68099" y="14573"/>
                      <a:pt x="71813" y="17907"/>
                    </a:cubicBezTo>
                    <a:cubicBezTo>
                      <a:pt x="74480" y="20383"/>
                      <a:pt x="76957" y="23146"/>
                      <a:pt x="79052" y="25813"/>
                    </a:cubicBezTo>
                    <a:cubicBezTo>
                      <a:pt x="79338" y="23717"/>
                      <a:pt x="79624" y="21526"/>
                      <a:pt x="80291" y="19431"/>
                    </a:cubicBezTo>
                    <a:cubicBezTo>
                      <a:pt x="81529" y="14192"/>
                      <a:pt x="85148" y="8477"/>
                      <a:pt x="90197" y="4953"/>
                    </a:cubicBezTo>
                    <a:cubicBezTo>
                      <a:pt x="95245" y="1333"/>
                      <a:pt x="100865" y="190"/>
                      <a:pt x="106484" y="0"/>
                    </a:cubicBezTo>
                    <a:cubicBezTo>
                      <a:pt x="118105" y="0"/>
                      <a:pt x="127058" y="6191"/>
                      <a:pt x="133631" y="12097"/>
                    </a:cubicBezTo>
                    <a:cubicBezTo>
                      <a:pt x="146966" y="24575"/>
                      <a:pt x="155157" y="39338"/>
                      <a:pt x="162587" y="54102"/>
                    </a:cubicBezTo>
                    <a:cubicBezTo>
                      <a:pt x="169635" y="68390"/>
                      <a:pt x="175350" y="82772"/>
                      <a:pt x="180017" y="97822"/>
                    </a:cubicBezTo>
                    <a:cubicBezTo>
                      <a:pt x="188304" y="102584"/>
                      <a:pt x="195924" y="108585"/>
                      <a:pt x="202401" y="115633"/>
                    </a:cubicBezTo>
                    <a:cubicBezTo>
                      <a:pt x="209450" y="123444"/>
                      <a:pt x="215165" y="132302"/>
                      <a:pt x="219356" y="141637"/>
                    </a:cubicBezTo>
                    <a:cubicBezTo>
                      <a:pt x="227833" y="160401"/>
                      <a:pt x="231167" y="180689"/>
                      <a:pt x="231262" y="200596"/>
                    </a:cubicBezTo>
                    <a:close/>
                  </a:path>
                </a:pathLst>
              </a:custGeom>
              <a:solidFill>
                <a:srgbClr val="FFA97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177800" marR="0" lvl="0" indent="-177800" algn="r" defTabSz="711200" rtl="1" eaLnBrk="1" fontAlgn="auto" latinLnBrk="0" hangingPunct="1">
                  <a:lnSpc>
                    <a:spcPct val="100000"/>
                  </a:lnSpc>
                  <a:spcBef>
                    <a:spcPts val="1200"/>
                  </a:spcBef>
                  <a:spcAft>
                    <a:spcPts val="0"/>
                  </a:spcAft>
                  <a:buClrTx/>
                  <a:buSzTx/>
                  <a:buFontTx/>
                  <a:buChar char="•"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kkal Majalla" panose="02000000000000000000" pitchFamily="2" charset="-78"/>
                  <a:ea typeface="+mn-ea"/>
                  <a:cs typeface="Sakkal Majalla" panose="02000000000000000000" pitchFamily="2" charset="-78"/>
                </a:endParaRPr>
              </a:p>
            </p:txBody>
          </p:sp>
        </p:grpSp>
      </p:grpSp>
      <p:pic>
        <p:nvPicPr>
          <p:cNvPr id="53" name="Graphic 52">
            <a:extLst>
              <a:ext uri="{FF2B5EF4-FFF2-40B4-BE49-F238E27FC236}">
                <a16:creationId xmlns:a16="http://schemas.microsoft.com/office/drawing/2014/main" id="{FEB89FED-2617-71CD-F455-6E751FFD13E6}"/>
              </a:ext>
            </a:extLst>
          </p:cNvPr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11232829" y="5972899"/>
            <a:ext cx="491324" cy="81770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45681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.&quot; ThousandSeparator=&quot;,&quot; NegativeNumberFormat=&quot;1&quot; /&gt;&lt;DateFormat CultureID=&quot;2057&quot; FormatString=&quot;dd/MM/yyyy&quot; /&gt;&lt;Font&gt;&lt;Output_Font_Name Default=&quot;Arial&quot; UsePPTTheme=&quot;True&quot; /&gt;&lt;/Font&gt;&lt;/MekkoFormats&gt;"/>
  <p:tag name="BTFPCOLUMNGUIDE" val="Visibl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2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9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6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5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2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2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8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7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3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4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9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309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3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2843"/>
  <p:tag name="BTFPLAYOUTENAB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156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115"/>
</p:tagLst>
</file>

<file path=ppt/theme/theme1.xml><?xml version="1.0" encoding="utf-8"?>
<a:theme xmlns:a="http://schemas.openxmlformats.org/drawingml/2006/main" name="9_ECD2_16.9">
  <a:themeElements>
    <a:clrScheme name="Custom 2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ACD4F1"/>
      </a:accent1>
      <a:accent2>
        <a:srgbClr val="E95A41"/>
      </a:accent2>
      <a:accent3>
        <a:srgbClr val="F9AE91"/>
      </a:accent3>
      <a:accent4>
        <a:srgbClr val="144A9A"/>
      </a:accent4>
      <a:accent5>
        <a:srgbClr val="FAA61A"/>
      </a:accent5>
      <a:accent6>
        <a:srgbClr val="5A193F"/>
      </a:accent6>
      <a:hlink>
        <a:srgbClr val="0097A7"/>
      </a:hlink>
      <a:folHlink>
        <a:srgbClr val="0097A7"/>
      </a:folHlink>
    </a:clrScheme>
    <a:fontScheme name="Custom 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CD2_16.9.potx" id="{8DF254F5-C2B0-46BE-9D08-7FC579E6EC47}" vid="{866C21B4-B473-4FFB-A3B7-BB717332EF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8f24d79-d2fa-452f-8556-cdd2fd9f5697">
      <Terms xmlns="http://schemas.microsoft.com/office/infopath/2007/PartnerControls"/>
    </lcf76f155ced4ddcb4097134ff3c332f>
    <TaxCatchAll xmlns="d45b134d-5363-47e4-bfaa-a04a845c9e95" xsi:nil="true"/>
    <xSherpaClassifyTag xmlns="48f24d79-d2fa-452f-8556-cdd2fd9f569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CD935EBA354C4894066C366729A103" ma:contentTypeVersion="16" ma:contentTypeDescription="Create a new document." ma:contentTypeScope="" ma:versionID="ef437961cbba3de762e8e6215f2d6e51">
  <xsd:schema xmlns:xsd="http://www.w3.org/2001/XMLSchema" xmlns:xs="http://www.w3.org/2001/XMLSchema" xmlns:p="http://schemas.microsoft.com/office/2006/metadata/properties" xmlns:ns2="48f24d79-d2fa-452f-8556-cdd2fd9f5697" xmlns:ns3="d45b134d-5363-47e4-bfaa-a04a845c9e95" targetNamespace="http://schemas.microsoft.com/office/2006/metadata/properties" ma:root="true" ma:fieldsID="64ef83c2c84126a49545505dd257a615" ns2:_="" ns3:_="">
    <xsd:import namespace="48f24d79-d2fa-452f-8556-cdd2fd9f5697"/>
    <xsd:import namespace="d45b134d-5363-47e4-bfaa-a04a845c9e95"/>
    <xsd:element name="properties">
      <xsd:complexType>
        <xsd:sequence>
          <xsd:element name="documentManagement">
            <xsd:complexType>
              <xsd:all>
                <xsd:element ref="ns2:xSherpaClassifyTag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f24d79-d2fa-452f-8556-cdd2fd9f5697" elementFormDefault="qualified">
    <xsd:import namespace="http://schemas.microsoft.com/office/2006/documentManagement/types"/>
    <xsd:import namespace="http://schemas.microsoft.com/office/infopath/2007/PartnerControls"/>
    <xsd:element name="xSherpaClassifyTag" ma:index="8" nillable="true" ma:displayName="xSherpaClassifyTag" ma:indexed="true" ma:internalName="xSherpaClassifyTag">
      <xsd:simpleType>
        <xsd:restriction base="dms:Text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5b134d-5363-47e4-bfaa-a04a845c9e9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86629a96-24b8-44eb-b71a-a55026197924}" ma:internalName="TaxCatchAll" ma:showField="CatchAllData" ma:web="d45b134d-5363-47e4-bfaa-a04a845c9e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0DF267-1BA3-4753-9939-97EF645B1EEE}">
  <ds:schemaRefs>
    <ds:schemaRef ds:uri="48f24d79-d2fa-452f-8556-cdd2fd9f5697"/>
    <ds:schemaRef ds:uri="d45b134d-5363-47e4-bfaa-a04a845c9e9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69BAAD8-793A-443B-91FB-2235A6A01F6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83A213-DEB5-48A2-A631-960C33E715A2}">
  <ds:schemaRefs>
    <ds:schemaRef ds:uri="48f24d79-d2fa-452f-8556-cdd2fd9f5697"/>
    <ds:schemaRef ds:uri="d45b134d-5363-47e4-bfaa-a04a845c9e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1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9_ECD2_16.9</vt:lpstr>
      <vt:lpstr>للحصول على شهادة عدم الممانعة (NOC)، يجب على مقدمي التدريب في مجال تنمية الطفولة المبكرة إثبات استيفائهم لخمسة معايير أكاديمية يتم تقييمها من قبل هيئة أبوظبي للطفولة المبكرة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للحصول على شهادة عدم الممانعة (NOC)، يجب على مقدمي التدريب في مجال تنمية الطفولة المبكرة إثبات الامتثال لخمسة معايير أكاديمية يتم تقييمها من قبل هيئة الطفولة المبكرة</dc:title>
  <dc:creator>Rabih, Loulwa</dc:creator>
  <cp:revision>1</cp:revision>
  <dcterms:created xsi:type="dcterms:W3CDTF">2024-09-27T13:04:39Z</dcterms:created>
  <dcterms:modified xsi:type="dcterms:W3CDTF">2024-09-27T13:1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CD935EBA354C4894066C366729A103</vt:lpwstr>
  </property>
  <property fmtid="{D5CDD505-2E9C-101B-9397-08002B2CF9AE}" pid="3" name="MediaServiceImageTags">
    <vt:lpwstr/>
  </property>
</Properties>
</file>